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0" r:id="rId4"/>
  </p:sldMasterIdLst>
  <p:sldIdLst>
    <p:sldId id="256" r:id="rId5"/>
    <p:sldId id="259" r:id="rId6"/>
    <p:sldId id="262" r:id="rId7"/>
    <p:sldId id="260" r:id="rId8"/>
    <p:sldId id="261" r:id="rId9"/>
  </p:sldIdLst>
  <p:sldSz cx="12192000" cy="6858000"/>
  <p:notesSz cx="6858000" cy="9144000"/>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9E0E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A6A85C-9C3F-4A8F-8717-144D475090D6}" v="2038" dt="2021-09-15T20:10:16.6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0" d="100"/>
          <a:sy n="110" d="100"/>
        </p:scale>
        <p:origin x="55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ty, Drew" userId="225206f6-c0b4-4907-9a76-59b0799850db" providerId="ADAL" clId="{02A6A85C-9C3F-4A8F-8717-144D475090D6}"/>
    <pc:docChg chg="undo custSel addSld delSld modSld">
      <pc:chgData name="Doty, Drew" userId="225206f6-c0b4-4907-9a76-59b0799850db" providerId="ADAL" clId="{02A6A85C-9C3F-4A8F-8717-144D475090D6}" dt="2021-09-15T20:10:07.824" v="4731" actId="20577"/>
      <pc:docMkLst>
        <pc:docMk/>
      </pc:docMkLst>
      <pc:sldChg chg="addSp delSp modSp mod">
        <pc:chgData name="Doty, Drew" userId="225206f6-c0b4-4907-9a76-59b0799850db" providerId="ADAL" clId="{02A6A85C-9C3F-4A8F-8717-144D475090D6}" dt="2021-09-15T13:22:22.687" v="584" actId="20577"/>
        <pc:sldMkLst>
          <pc:docMk/>
          <pc:sldMk cId="1413579162" sldId="256"/>
        </pc:sldMkLst>
        <pc:spChg chg="mod">
          <ac:chgData name="Doty, Drew" userId="225206f6-c0b4-4907-9a76-59b0799850db" providerId="ADAL" clId="{02A6A85C-9C3F-4A8F-8717-144D475090D6}" dt="2021-09-15T13:21:57.981" v="499" actId="948"/>
          <ac:spMkLst>
            <pc:docMk/>
            <pc:sldMk cId="1413579162" sldId="256"/>
            <ac:spMk id="2" creationId="{4AB452C3-9DD3-4B82-A015-B35FFA323A4C}"/>
          </ac:spMkLst>
        </pc:spChg>
        <pc:spChg chg="mod">
          <ac:chgData name="Doty, Drew" userId="225206f6-c0b4-4907-9a76-59b0799850db" providerId="ADAL" clId="{02A6A85C-9C3F-4A8F-8717-144D475090D6}" dt="2021-09-15T13:22:22.687" v="584" actId="20577"/>
          <ac:spMkLst>
            <pc:docMk/>
            <pc:sldMk cId="1413579162" sldId="256"/>
            <ac:spMk id="3" creationId="{D0248EFC-1299-4D82-BA6E-121EDDB54778}"/>
          </ac:spMkLst>
        </pc:spChg>
        <pc:spChg chg="add del mod modVis">
          <ac:chgData name="Doty, Drew" userId="225206f6-c0b4-4907-9a76-59b0799850db" providerId="ADAL" clId="{02A6A85C-9C3F-4A8F-8717-144D475090D6}" dt="2021-09-15T13:21:35.468" v="70"/>
          <ac:spMkLst>
            <pc:docMk/>
            <pc:sldMk cId="1413579162" sldId="256"/>
            <ac:spMk id="5" creationId="{ADD1686B-E4D8-497C-86A9-783182E16027}"/>
          </ac:spMkLst>
        </pc:spChg>
        <pc:spChg chg="add del mod modVis">
          <ac:chgData name="Doty, Drew" userId="225206f6-c0b4-4907-9a76-59b0799850db" providerId="ADAL" clId="{02A6A85C-9C3F-4A8F-8717-144D475090D6}" dt="2021-09-15T13:21:36.104" v="114"/>
          <ac:spMkLst>
            <pc:docMk/>
            <pc:sldMk cId="1413579162" sldId="256"/>
            <ac:spMk id="6" creationId="{8C57C9D3-8F1A-4B72-8832-B82B3C026F36}"/>
          </ac:spMkLst>
        </pc:spChg>
        <pc:spChg chg="add del mod modVis">
          <ac:chgData name="Doty, Drew" userId="225206f6-c0b4-4907-9a76-59b0799850db" providerId="ADAL" clId="{02A6A85C-9C3F-4A8F-8717-144D475090D6}" dt="2021-09-15T13:21:38.187" v="157"/>
          <ac:spMkLst>
            <pc:docMk/>
            <pc:sldMk cId="1413579162" sldId="256"/>
            <ac:spMk id="7" creationId="{5676F482-68AB-4174-A501-C610B0E9E2B7}"/>
          </ac:spMkLst>
        </pc:spChg>
        <pc:spChg chg="add del mod modVis">
          <ac:chgData name="Doty, Drew" userId="225206f6-c0b4-4907-9a76-59b0799850db" providerId="ADAL" clId="{02A6A85C-9C3F-4A8F-8717-144D475090D6}" dt="2021-09-15T13:21:40.437" v="208"/>
          <ac:spMkLst>
            <pc:docMk/>
            <pc:sldMk cId="1413579162" sldId="256"/>
            <ac:spMk id="8" creationId="{5C5C2A4C-2EED-4568-9D3E-1042ED654947}"/>
          </ac:spMkLst>
        </pc:spChg>
        <pc:spChg chg="add del mod modVis">
          <ac:chgData name="Doty, Drew" userId="225206f6-c0b4-4907-9a76-59b0799850db" providerId="ADAL" clId="{02A6A85C-9C3F-4A8F-8717-144D475090D6}" dt="2021-09-15T13:21:41.162" v="253"/>
          <ac:spMkLst>
            <pc:docMk/>
            <pc:sldMk cId="1413579162" sldId="256"/>
            <ac:spMk id="9" creationId="{7F754E59-6A83-4478-A80E-ABCC9043F835}"/>
          </ac:spMkLst>
        </pc:spChg>
        <pc:spChg chg="add del mod modVis">
          <ac:chgData name="Doty, Drew" userId="225206f6-c0b4-4907-9a76-59b0799850db" providerId="ADAL" clId="{02A6A85C-9C3F-4A8F-8717-144D475090D6}" dt="2021-09-15T13:21:45.210" v="297"/>
          <ac:spMkLst>
            <pc:docMk/>
            <pc:sldMk cId="1413579162" sldId="256"/>
            <ac:spMk id="10" creationId="{6F384D2D-4884-4BEF-B6C2-3FB42A479627}"/>
          </ac:spMkLst>
        </pc:spChg>
        <pc:spChg chg="add del mod modVis">
          <ac:chgData name="Doty, Drew" userId="225206f6-c0b4-4907-9a76-59b0799850db" providerId="ADAL" clId="{02A6A85C-9C3F-4A8F-8717-144D475090D6}" dt="2021-09-15T13:21:48.744" v="340"/>
          <ac:spMkLst>
            <pc:docMk/>
            <pc:sldMk cId="1413579162" sldId="256"/>
            <ac:spMk id="11" creationId="{0D9E9FB0-27FE-4D67-8C34-F42CAAF47730}"/>
          </ac:spMkLst>
        </pc:spChg>
        <pc:spChg chg="add del mod modVis">
          <ac:chgData name="Doty, Drew" userId="225206f6-c0b4-4907-9a76-59b0799850db" providerId="ADAL" clId="{02A6A85C-9C3F-4A8F-8717-144D475090D6}" dt="2021-09-15T13:21:52.782" v="391"/>
          <ac:spMkLst>
            <pc:docMk/>
            <pc:sldMk cId="1413579162" sldId="256"/>
            <ac:spMk id="12" creationId="{7B8C828D-2EF2-4858-87B9-5148E3227BB5}"/>
          </ac:spMkLst>
        </pc:spChg>
        <pc:spChg chg="add del mod modVis">
          <ac:chgData name="Doty, Drew" userId="225206f6-c0b4-4907-9a76-59b0799850db" providerId="ADAL" clId="{02A6A85C-9C3F-4A8F-8717-144D475090D6}" dt="2021-09-15T13:21:53.935" v="436"/>
          <ac:spMkLst>
            <pc:docMk/>
            <pc:sldMk cId="1413579162" sldId="256"/>
            <ac:spMk id="13" creationId="{608CD244-7465-45A1-AC6C-D06CD10191CA}"/>
          </ac:spMkLst>
        </pc:spChg>
        <pc:spChg chg="add del mod modVis">
          <ac:chgData name="Doty, Drew" userId="225206f6-c0b4-4907-9a76-59b0799850db" providerId="ADAL" clId="{02A6A85C-9C3F-4A8F-8717-144D475090D6}" dt="2021-09-15T13:21:57.415" v="495"/>
          <ac:spMkLst>
            <pc:docMk/>
            <pc:sldMk cId="1413579162" sldId="256"/>
            <ac:spMk id="14" creationId="{2F04219D-CB2D-4ED5-A9A3-382230A6E1A7}"/>
          </ac:spMkLst>
        </pc:spChg>
        <pc:spChg chg="add del mod modVis">
          <ac:chgData name="Doty, Drew" userId="225206f6-c0b4-4907-9a76-59b0799850db" providerId="ADAL" clId="{02A6A85C-9C3F-4A8F-8717-144D475090D6}" dt="2021-09-15T13:21:58.153" v="553"/>
          <ac:spMkLst>
            <pc:docMk/>
            <pc:sldMk cId="1413579162" sldId="256"/>
            <ac:spMk id="15" creationId="{D993FBA6-04C2-4A9C-BD12-91802ACDDEB6}"/>
          </ac:spMkLst>
        </pc:spChg>
        <pc:graphicFrameChg chg="mod">
          <ac:chgData name="Doty, Drew" userId="225206f6-c0b4-4907-9a76-59b0799850db" providerId="ADAL" clId="{02A6A85C-9C3F-4A8F-8717-144D475090D6}" dt="2021-09-15T13:21:58.157" v="555"/>
          <ac:graphicFrameMkLst>
            <pc:docMk/>
            <pc:sldMk cId="1413579162" sldId="256"/>
            <ac:graphicFrameMk id="4" creationId="{2609BA20-E327-4A81-8D54-D52DE3472978}"/>
          </ac:graphicFrameMkLst>
        </pc:graphicFrameChg>
      </pc:sldChg>
      <pc:sldChg chg="del">
        <pc:chgData name="Doty, Drew" userId="225206f6-c0b4-4907-9a76-59b0799850db" providerId="ADAL" clId="{02A6A85C-9C3F-4A8F-8717-144D475090D6}" dt="2021-09-15T14:12:09.428" v="1892" actId="47"/>
        <pc:sldMkLst>
          <pc:docMk/>
          <pc:sldMk cId="3803155926" sldId="257"/>
        </pc:sldMkLst>
      </pc:sldChg>
      <pc:sldChg chg="del">
        <pc:chgData name="Doty, Drew" userId="225206f6-c0b4-4907-9a76-59b0799850db" providerId="ADAL" clId="{02A6A85C-9C3F-4A8F-8717-144D475090D6}" dt="2021-09-15T14:12:09.887" v="1893" actId="47"/>
        <pc:sldMkLst>
          <pc:docMk/>
          <pc:sldMk cId="3920439632" sldId="258"/>
        </pc:sldMkLst>
      </pc:sldChg>
      <pc:sldChg chg="addSp delSp modSp mod">
        <pc:chgData name="Doty, Drew" userId="225206f6-c0b4-4907-9a76-59b0799850db" providerId="ADAL" clId="{02A6A85C-9C3F-4A8F-8717-144D475090D6}" dt="2021-09-15T14:18:17.712" v="2013"/>
        <pc:sldMkLst>
          <pc:docMk/>
          <pc:sldMk cId="3647545033" sldId="259"/>
        </pc:sldMkLst>
        <pc:spChg chg="mod">
          <ac:chgData name="Doty, Drew" userId="225206f6-c0b4-4907-9a76-59b0799850db" providerId="ADAL" clId="{02A6A85C-9C3F-4A8F-8717-144D475090D6}" dt="2021-09-15T14:18:17.570" v="1972" actId="948"/>
          <ac:spMkLst>
            <pc:docMk/>
            <pc:sldMk cId="3647545033" sldId="259"/>
            <ac:spMk id="2" creationId="{5B63ECB6-DCC2-418F-ADFA-D74160D1127D}"/>
          </ac:spMkLst>
        </pc:spChg>
        <pc:spChg chg="add del">
          <ac:chgData name="Doty, Drew" userId="225206f6-c0b4-4907-9a76-59b0799850db" providerId="ADAL" clId="{02A6A85C-9C3F-4A8F-8717-144D475090D6}" dt="2021-09-15T13:23:07.349" v="590" actId="478"/>
          <ac:spMkLst>
            <pc:docMk/>
            <pc:sldMk cId="3647545033" sldId="259"/>
            <ac:spMk id="3" creationId="{7391ECA1-0B58-457B-81BA-D85D2863FC5E}"/>
          </ac:spMkLst>
        </pc:spChg>
        <pc:spChg chg="add del mod modVis">
          <ac:chgData name="Doty, Drew" userId="225206f6-c0b4-4907-9a76-59b0799850db" providerId="ADAL" clId="{02A6A85C-9C3F-4A8F-8717-144D475090D6}" dt="2021-09-15T14:18:16.664" v="1966"/>
          <ac:spMkLst>
            <pc:docMk/>
            <pc:sldMk cId="3647545033" sldId="259"/>
            <ac:spMk id="5" creationId="{F23EE6DB-F811-4A51-A139-4303EA6AE5F0}"/>
          </ac:spMkLst>
        </pc:spChg>
        <pc:spChg chg="add del mod modVis">
          <ac:chgData name="Doty, Drew" userId="225206f6-c0b4-4907-9a76-59b0799850db" providerId="ADAL" clId="{02A6A85C-9C3F-4A8F-8717-144D475090D6}" dt="2021-09-15T14:18:17.707" v="2011"/>
          <ac:spMkLst>
            <pc:docMk/>
            <pc:sldMk cId="3647545033" sldId="259"/>
            <ac:spMk id="7" creationId="{6456E374-EC06-4A56-B8A2-EFDC037C406C}"/>
          </ac:spMkLst>
        </pc:spChg>
        <pc:spChg chg="del">
          <ac:chgData name="Doty, Drew" userId="225206f6-c0b4-4907-9a76-59b0799850db" providerId="ADAL" clId="{02A6A85C-9C3F-4A8F-8717-144D475090D6}" dt="2021-09-15T13:23:11.234" v="591" actId="478"/>
          <ac:spMkLst>
            <pc:docMk/>
            <pc:sldMk cId="3647545033" sldId="259"/>
            <ac:spMk id="8" creationId="{B2656FD7-7CF2-45F0-8B3A-000621DC03DE}"/>
          </ac:spMkLst>
        </pc:spChg>
        <pc:spChg chg="del mod">
          <ac:chgData name="Doty, Drew" userId="225206f6-c0b4-4907-9a76-59b0799850db" providerId="ADAL" clId="{02A6A85C-9C3F-4A8F-8717-144D475090D6}" dt="2021-09-15T13:24:32.966" v="723" actId="478"/>
          <ac:spMkLst>
            <pc:docMk/>
            <pc:sldMk cId="3647545033" sldId="259"/>
            <ac:spMk id="18" creationId="{4279F803-81D9-454D-A77E-F078938FD66B}"/>
          </ac:spMkLst>
        </pc:spChg>
        <pc:graphicFrameChg chg="add mod modGraphic">
          <ac:chgData name="Doty, Drew" userId="225206f6-c0b4-4907-9a76-59b0799850db" providerId="ADAL" clId="{02A6A85C-9C3F-4A8F-8717-144D475090D6}" dt="2021-09-15T14:15:52.577" v="1904" actId="14100"/>
          <ac:graphicFrameMkLst>
            <pc:docMk/>
            <pc:sldMk cId="3647545033" sldId="259"/>
            <ac:graphicFrameMk id="4" creationId="{140BF0F2-809A-4674-876A-BD9F1C715C14}"/>
          </ac:graphicFrameMkLst>
        </pc:graphicFrameChg>
        <pc:graphicFrameChg chg="mod">
          <ac:chgData name="Doty, Drew" userId="225206f6-c0b4-4907-9a76-59b0799850db" providerId="ADAL" clId="{02A6A85C-9C3F-4A8F-8717-144D475090D6}" dt="2021-09-15T14:18:17.712" v="2013"/>
          <ac:graphicFrameMkLst>
            <pc:docMk/>
            <pc:sldMk cId="3647545033" sldId="259"/>
            <ac:graphicFrameMk id="6" creationId="{4C5261AB-3E3E-4AD6-B714-052561CB2528}"/>
          </ac:graphicFrameMkLst>
        </pc:graphicFrameChg>
        <pc:graphicFrameChg chg="del">
          <ac:chgData name="Doty, Drew" userId="225206f6-c0b4-4907-9a76-59b0799850db" providerId="ADAL" clId="{02A6A85C-9C3F-4A8F-8717-144D475090D6}" dt="2021-09-15T13:22:58.934" v="587" actId="478"/>
          <ac:graphicFrameMkLst>
            <pc:docMk/>
            <pc:sldMk cId="3647545033" sldId="259"/>
            <ac:graphicFrameMk id="10" creationId="{F98A74D6-4589-43CC-83EE-8A9F58715453}"/>
          </ac:graphicFrameMkLst>
        </pc:graphicFrameChg>
      </pc:sldChg>
      <pc:sldChg chg="new add del">
        <pc:chgData name="Doty, Drew" userId="225206f6-c0b4-4907-9a76-59b0799850db" providerId="ADAL" clId="{02A6A85C-9C3F-4A8F-8717-144D475090D6}" dt="2021-09-15T14:18:04.921" v="1907" actId="680"/>
        <pc:sldMkLst>
          <pc:docMk/>
          <pc:sldMk cId="1302648933" sldId="260"/>
        </pc:sldMkLst>
      </pc:sldChg>
      <pc:sldChg chg="addSp delSp modSp add mod">
        <pc:chgData name="Doty, Drew" userId="225206f6-c0b4-4907-9a76-59b0799850db" providerId="ADAL" clId="{02A6A85C-9C3F-4A8F-8717-144D475090D6}" dt="2021-09-15T19:23:11.610" v="3212" actId="20577"/>
        <pc:sldMkLst>
          <pc:docMk/>
          <pc:sldMk cId="3882144743" sldId="260"/>
        </pc:sldMkLst>
        <pc:spChg chg="mod">
          <ac:chgData name="Doty, Drew" userId="225206f6-c0b4-4907-9a76-59b0799850db" providerId="ADAL" clId="{02A6A85C-9C3F-4A8F-8717-144D475090D6}" dt="2021-09-15T17:15:21.242" v="2796" actId="948"/>
          <ac:spMkLst>
            <pc:docMk/>
            <pc:sldMk cId="3882144743" sldId="260"/>
            <ac:spMk id="2" creationId="{5B63ECB6-DCC2-418F-ADFA-D74160D1127D}"/>
          </ac:spMkLst>
        </pc:spChg>
        <pc:spChg chg="add del mod modVis">
          <ac:chgData name="Doty, Drew" userId="225206f6-c0b4-4907-9a76-59b0799850db" providerId="ADAL" clId="{02A6A85C-9C3F-4A8F-8717-144D475090D6}" dt="2021-09-15T14:18:26.094" v="2066"/>
          <ac:spMkLst>
            <pc:docMk/>
            <pc:sldMk cId="3882144743" sldId="260"/>
            <ac:spMk id="3" creationId="{A1F7222E-9368-4D76-BF28-DEF9671CDCF3}"/>
          </ac:spMkLst>
        </pc:spChg>
        <pc:spChg chg="add del mod modVis">
          <ac:chgData name="Doty, Drew" userId="225206f6-c0b4-4907-9a76-59b0799850db" providerId="ADAL" clId="{02A6A85C-9C3F-4A8F-8717-144D475090D6}" dt="2021-09-15T14:18:28.781" v="2118"/>
          <ac:spMkLst>
            <pc:docMk/>
            <pc:sldMk cId="3882144743" sldId="260"/>
            <ac:spMk id="5" creationId="{1CDB1032-7241-4827-BF1E-8039B3F49631}"/>
          </ac:spMkLst>
        </pc:spChg>
        <pc:spChg chg="add mod">
          <ac:chgData name="Doty, Drew" userId="225206f6-c0b4-4907-9a76-59b0799850db" providerId="ADAL" clId="{02A6A85C-9C3F-4A8F-8717-144D475090D6}" dt="2021-09-15T19:23:11.610" v="3212" actId="20577"/>
          <ac:spMkLst>
            <pc:docMk/>
            <pc:sldMk cId="3882144743" sldId="260"/>
            <ac:spMk id="7" creationId="{CD0EAA7B-6892-45EA-B357-31A0D6F29B1C}"/>
          </ac:spMkLst>
        </pc:spChg>
        <pc:spChg chg="add del mod modVis">
          <ac:chgData name="Doty, Drew" userId="225206f6-c0b4-4907-9a76-59b0799850db" providerId="ADAL" clId="{02A6A85C-9C3F-4A8F-8717-144D475090D6}" dt="2021-09-15T14:31:29.147" v="2189"/>
          <ac:spMkLst>
            <pc:docMk/>
            <pc:sldMk cId="3882144743" sldId="260"/>
            <ac:spMk id="8" creationId="{DD58D745-8914-4888-9873-6461A7257E8B}"/>
          </ac:spMkLst>
        </pc:spChg>
        <pc:spChg chg="add del mod modVis">
          <ac:chgData name="Doty, Drew" userId="225206f6-c0b4-4907-9a76-59b0799850db" providerId="ADAL" clId="{02A6A85C-9C3F-4A8F-8717-144D475090D6}" dt="2021-09-15T14:31:34.444" v="2254"/>
          <ac:spMkLst>
            <pc:docMk/>
            <pc:sldMk cId="3882144743" sldId="260"/>
            <ac:spMk id="9" creationId="{77D8483B-DAB9-4D93-A6FA-EC4AC20A8E04}"/>
          </ac:spMkLst>
        </pc:spChg>
        <pc:spChg chg="add del mod modVis">
          <ac:chgData name="Doty, Drew" userId="225206f6-c0b4-4907-9a76-59b0799850db" providerId="ADAL" clId="{02A6A85C-9C3F-4A8F-8717-144D475090D6}" dt="2021-09-15T17:15:14.753" v="2687"/>
          <ac:spMkLst>
            <pc:docMk/>
            <pc:sldMk cId="3882144743" sldId="260"/>
            <ac:spMk id="10" creationId="{D5644588-D2BB-4C85-B6AF-78817EC08AF4}"/>
          </ac:spMkLst>
        </pc:spChg>
        <pc:spChg chg="add del mod modVis">
          <ac:chgData name="Doty, Drew" userId="225206f6-c0b4-4907-9a76-59b0799850db" providerId="ADAL" clId="{02A6A85C-9C3F-4A8F-8717-144D475090D6}" dt="2021-09-15T17:15:15.648" v="2730"/>
          <ac:spMkLst>
            <pc:docMk/>
            <pc:sldMk cId="3882144743" sldId="260"/>
            <ac:spMk id="11" creationId="{DF0EFB1F-45F8-433F-B25B-D760755CF007}"/>
          </ac:spMkLst>
        </pc:spChg>
        <pc:spChg chg="add del mod modVis">
          <ac:chgData name="Doty, Drew" userId="225206f6-c0b4-4907-9a76-59b0799850db" providerId="ADAL" clId="{02A6A85C-9C3F-4A8F-8717-144D475090D6}" dt="2021-09-15T17:15:17.745" v="2774"/>
          <ac:spMkLst>
            <pc:docMk/>
            <pc:sldMk cId="3882144743" sldId="260"/>
            <ac:spMk id="12" creationId="{F6CFE45B-A2AF-4DBD-9F08-83B37B2FAD1C}"/>
          </ac:spMkLst>
        </pc:spChg>
        <pc:spChg chg="add del mod modVis">
          <ac:chgData name="Doty, Drew" userId="225206f6-c0b4-4907-9a76-59b0799850db" providerId="ADAL" clId="{02A6A85C-9C3F-4A8F-8717-144D475090D6}" dt="2021-09-15T17:15:21.347" v="2835"/>
          <ac:spMkLst>
            <pc:docMk/>
            <pc:sldMk cId="3882144743" sldId="260"/>
            <ac:spMk id="13" creationId="{5DB9E178-9802-4D01-B619-3CAAF02528E1}"/>
          </ac:spMkLst>
        </pc:spChg>
        <pc:graphicFrameChg chg="del">
          <ac:chgData name="Doty, Drew" userId="225206f6-c0b4-4907-9a76-59b0799850db" providerId="ADAL" clId="{02A6A85C-9C3F-4A8F-8717-144D475090D6}" dt="2021-09-15T14:18:33.588" v="2121" actId="478"/>
          <ac:graphicFrameMkLst>
            <pc:docMk/>
            <pc:sldMk cId="3882144743" sldId="260"/>
            <ac:graphicFrameMk id="4" creationId="{140BF0F2-809A-4674-876A-BD9F1C715C14}"/>
          </ac:graphicFrameMkLst>
        </pc:graphicFrameChg>
        <pc:graphicFrameChg chg="mod">
          <ac:chgData name="Doty, Drew" userId="225206f6-c0b4-4907-9a76-59b0799850db" providerId="ADAL" clId="{02A6A85C-9C3F-4A8F-8717-144D475090D6}" dt="2021-09-15T17:15:21.352" v="2837"/>
          <ac:graphicFrameMkLst>
            <pc:docMk/>
            <pc:sldMk cId="3882144743" sldId="260"/>
            <ac:graphicFrameMk id="6" creationId="{4C5261AB-3E3E-4AD6-B714-052561CB2528}"/>
          </ac:graphicFrameMkLst>
        </pc:graphicFrameChg>
      </pc:sldChg>
      <pc:sldChg chg="del">
        <pc:chgData name="Doty, Drew" userId="225206f6-c0b4-4907-9a76-59b0799850db" providerId="ADAL" clId="{02A6A85C-9C3F-4A8F-8717-144D475090D6}" dt="2021-09-15T14:12:11.244" v="1895" actId="47"/>
        <pc:sldMkLst>
          <pc:docMk/>
          <pc:sldMk cId="171218775" sldId="261"/>
        </pc:sldMkLst>
      </pc:sldChg>
      <pc:sldChg chg="addSp delSp modSp add mod">
        <pc:chgData name="Doty, Drew" userId="225206f6-c0b4-4907-9a76-59b0799850db" providerId="ADAL" clId="{02A6A85C-9C3F-4A8F-8717-144D475090D6}" dt="2021-09-15T20:01:24.662" v="3969" actId="20577"/>
        <pc:sldMkLst>
          <pc:docMk/>
          <pc:sldMk cId="320178326" sldId="261"/>
        </pc:sldMkLst>
        <pc:spChg chg="mod">
          <ac:chgData name="Doty, Drew" userId="225206f6-c0b4-4907-9a76-59b0799850db" providerId="ADAL" clId="{02A6A85C-9C3F-4A8F-8717-144D475090D6}" dt="2021-09-15T19:23:54.788" v="3248" actId="948"/>
          <ac:spMkLst>
            <pc:docMk/>
            <pc:sldMk cId="320178326" sldId="261"/>
            <ac:spMk id="2" creationId="{5B63ECB6-DCC2-418F-ADFA-D74160D1127D}"/>
          </ac:spMkLst>
        </pc:spChg>
        <pc:spChg chg="add del mod modVis">
          <ac:chgData name="Doty, Drew" userId="225206f6-c0b4-4907-9a76-59b0799850db" providerId="ADAL" clId="{02A6A85C-9C3F-4A8F-8717-144D475090D6}" dt="2021-09-15T19:23:54.893" v="3287"/>
          <ac:spMkLst>
            <pc:docMk/>
            <pc:sldMk cId="320178326" sldId="261"/>
            <ac:spMk id="3" creationId="{E2C8C64E-F45F-4348-A5B5-C9C38F6498DC}"/>
          </ac:spMkLst>
        </pc:spChg>
        <pc:spChg chg="add mod">
          <ac:chgData name="Doty, Drew" userId="225206f6-c0b4-4907-9a76-59b0799850db" providerId="ADAL" clId="{02A6A85C-9C3F-4A8F-8717-144D475090D6}" dt="2021-09-15T20:00:46.574" v="3935" actId="1076"/>
          <ac:spMkLst>
            <pc:docMk/>
            <pc:sldMk cId="320178326" sldId="261"/>
            <ac:spMk id="5" creationId="{1770D65D-E4EC-4C37-9063-38CE229FC973}"/>
          </ac:spMkLst>
        </pc:spChg>
        <pc:spChg chg="del">
          <ac:chgData name="Doty, Drew" userId="225206f6-c0b4-4907-9a76-59b0799850db" providerId="ADAL" clId="{02A6A85C-9C3F-4A8F-8717-144D475090D6}" dt="2021-09-15T19:23:57.372" v="3290" actId="478"/>
          <ac:spMkLst>
            <pc:docMk/>
            <pc:sldMk cId="320178326" sldId="261"/>
            <ac:spMk id="7" creationId="{CD0EAA7B-6892-45EA-B357-31A0D6F29B1C}"/>
          </ac:spMkLst>
        </pc:spChg>
        <pc:spChg chg="add mod">
          <ac:chgData name="Doty, Drew" userId="225206f6-c0b4-4907-9a76-59b0799850db" providerId="ADAL" clId="{02A6A85C-9C3F-4A8F-8717-144D475090D6}" dt="2021-09-15T20:01:09.127" v="3959" actId="14100"/>
          <ac:spMkLst>
            <pc:docMk/>
            <pc:sldMk cId="320178326" sldId="261"/>
            <ac:spMk id="8" creationId="{E2C853AE-F2DF-47F5-ADDE-BC228E1BD8CC}"/>
          </ac:spMkLst>
        </pc:spChg>
        <pc:spChg chg="add mod">
          <ac:chgData name="Doty, Drew" userId="225206f6-c0b4-4907-9a76-59b0799850db" providerId="ADAL" clId="{02A6A85C-9C3F-4A8F-8717-144D475090D6}" dt="2021-09-15T20:01:24.662" v="3969" actId="20577"/>
          <ac:spMkLst>
            <pc:docMk/>
            <pc:sldMk cId="320178326" sldId="261"/>
            <ac:spMk id="9" creationId="{2D51F653-8BC4-4851-A2DA-4C04FBBDCCFC}"/>
          </ac:spMkLst>
        </pc:spChg>
        <pc:graphicFrameChg chg="add mod">
          <ac:chgData name="Doty, Drew" userId="225206f6-c0b4-4907-9a76-59b0799850db" providerId="ADAL" clId="{02A6A85C-9C3F-4A8F-8717-144D475090D6}" dt="2021-09-15T20:00:21.108" v="3906" actId="14100"/>
          <ac:graphicFrameMkLst>
            <pc:docMk/>
            <pc:sldMk cId="320178326" sldId="261"/>
            <ac:graphicFrameMk id="4" creationId="{664832BE-1D69-4D07-804F-993C2DA5A7F6}"/>
          </ac:graphicFrameMkLst>
        </pc:graphicFrameChg>
        <pc:graphicFrameChg chg="mod">
          <ac:chgData name="Doty, Drew" userId="225206f6-c0b4-4907-9a76-59b0799850db" providerId="ADAL" clId="{02A6A85C-9C3F-4A8F-8717-144D475090D6}" dt="2021-09-15T19:23:54.897" v="3289"/>
          <ac:graphicFrameMkLst>
            <pc:docMk/>
            <pc:sldMk cId="320178326" sldId="261"/>
            <ac:graphicFrameMk id="6" creationId="{4C5261AB-3E3E-4AD6-B714-052561CB2528}"/>
          </ac:graphicFrameMkLst>
        </pc:graphicFrameChg>
      </pc:sldChg>
      <pc:sldChg chg="new add del">
        <pc:chgData name="Doty, Drew" userId="225206f6-c0b4-4907-9a76-59b0799850db" providerId="ADAL" clId="{02A6A85C-9C3F-4A8F-8717-144D475090D6}" dt="2021-09-15T19:23:40.020" v="3215" actId="680"/>
        <pc:sldMkLst>
          <pc:docMk/>
          <pc:sldMk cId="353442425" sldId="261"/>
        </pc:sldMkLst>
      </pc:sldChg>
      <pc:sldChg chg="new add del">
        <pc:chgData name="Doty, Drew" userId="225206f6-c0b4-4907-9a76-59b0799850db" providerId="ADAL" clId="{02A6A85C-9C3F-4A8F-8717-144D475090D6}" dt="2021-09-15T17:15:10.848" v="2643" actId="47"/>
        <pc:sldMkLst>
          <pc:docMk/>
          <pc:sldMk cId="2586171827" sldId="261"/>
        </pc:sldMkLst>
      </pc:sldChg>
      <pc:sldChg chg="addSp delSp modSp add mod">
        <pc:chgData name="Doty, Drew" userId="225206f6-c0b4-4907-9a76-59b0799850db" providerId="ADAL" clId="{02A6A85C-9C3F-4A8F-8717-144D475090D6}" dt="2021-09-15T20:10:07.824" v="4731" actId="20577"/>
        <pc:sldMkLst>
          <pc:docMk/>
          <pc:sldMk cId="1192849290" sldId="262"/>
        </pc:sldMkLst>
        <pc:spChg chg="mod">
          <ac:chgData name="Doty, Drew" userId="225206f6-c0b4-4907-9a76-59b0799850db" providerId="ADAL" clId="{02A6A85C-9C3F-4A8F-8717-144D475090D6}" dt="2021-09-15T20:02:55.144" v="4104" actId="948"/>
          <ac:spMkLst>
            <pc:docMk/>
            <pc:sldMk cId="1192849290" sldId="262"/>
            <ac:spMk id="2" creationId="{5B63ECB6-DCC2-418F-ADFA-D74160D1127D}"/>
          </ac:spMkLst>
        </pc:spChg>
        <pc:spChg chg="add del mod modVis">
          <ac:chgData name="Doty, Drew" userId="225206f6-c0b4-4907-9a76-59b0799850db" providerId="ADAL" clId="{02A6A85C-9C3F-4A8F-8717-144D475090D6}" dt="2021-09-15T20:02:48.411" v="4022"/>
          <ac:spMkLst>
            <pc:docMk/>
            <pc:sldMk cId="1192849290" sldId="262"/>
            <ac:spMk id="3" creationId="{6BD5CD2B-97E6-4D2D-889B-F07E85670365}"/>
          </ac:spMkLst>
        </pc:spChg>
        <pc:spChg chg="add del mod modVis">
          <ac:chgData name="Doty, Drew" userId="225206f6-c0b4-4907-9a76-59b0799850db" providerId="ADAL" clId="{02A6A85C-9C3F-4A8F-8717-144D475090D6}" dt="2021-09-15T20:02:49.131" v="4067"/>
          <ac:spMkLst>
            <pc:docMk/>
            <pc:sldMk cId="1192849290" sldId="262"/>
            <ac:spMk id="5" creationId="{80AD3266-3741-43E7-8177-1FC610B626EC}"/>
          </ac:spMkLst>
        </pc:spChg>
        <pc:graphicFrameChg chg="modGraphic">
          <ac:chgData name="Doty, Drew" userId="225206f6-c0b4-4907-9a76-59b0799850db" providerId="ADAL" clId="{02A6A85C-9C3F-4A8F-8717-144D475090D6}" dt="2021-09-15T20:10:07.824" v="4731" actId="20577"/>
          <ac:graphicFrameMkLst>
            <pc:docMk/>
            <pc:sldMk cId="1192849290" sldId="262"/>
            <ac:graphicFrameMk id="4" creationId="{140BF0F2-809A-4674-876A-BD9F1C715C14}"/>
          </ac:graphicFrameMkLst>
        </pc:graphicFrameChg>
        <pc:graphicFrameChg chg="mod">
          <ac:chgData name="Doty, Drew" userId="225206f6-c0b4-4907-9a76-59b0799850db" providerId="ADAL" clId="{02A6A85C-9C3F-4A8F-8717-144D475090D6}" dt="2021-09-15T20:02:55.151" v="4106"/>
          <ac:graphicFrameMkLst>
            <pc:docMk/>
            <pc:sldMk cId="1192849290" sldId="262"/>
            <ac:graphicFrameMk id="6" creationId="{4C5261AB-3E3E-4AD6-B714-052561CB2528}"/>
          </ac:graphicFrameMkLst>
        </pc:graphicFrameChg>
      </pc:sldChg>
      <pc:sldChg chg="del">
        <pc:chgData name="Doty, Drew" userId="225206f6-c0b4-4907-9a76-59b0799850db" providerId="ADAL" clId="{02A6A85C-9C3F-4A8F-8717-144D475090D6}" dt="2021-09-15T14:12:08.830" v="1891" actId="47"/>
        <pc:sldMkLst>
          <pc:docMk/>
          <pc:sldMk cId="3159983780" sldId="263"/>
        </pc:sldMkLst>
      </pc:sldChg>
      <pc:sldChg chg="del">
        <pc:chgData name="Doty, Drew" userId="225206f6-c0b4-4907-9a76-59b0799850db" providerId="ADAL" clId="{02A6A85C-9C3F-4A8F-8717-144D475090D6}" dt="2021-09-15T14:12:10.260" v="1894" actId="47"/>
        <pc:sldMkLst>
          <pc:docMk/>
          <pc:sldMk cId="3105335811" sldId="26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97ABA1-E7F2-488C-B678-227EB163EEC5}"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C072FD89-3FDF-4A44-8F99-5360E0272061}">
      <dgm:prSet phldrT="[Text]"/>
      <dgm:spPr/>
      <dgm:t>
        <a:bodyPr/>
        <a:lstStyle/>
        <a:p>
          <a:r>
            <a:rPr lang="en-US" dirty="0"/>
            <a:t>Preprocess and clean data, removing all duplicates, and missing or incomplete data</a:t>
          </a:r>
        </a:p>
      </dgm:t>
    </dgm:pt>
    <dgm:pt modelId="{52000B25-209E-46F6-8F1B-26C664B28DE8}" type="parTrans" cxnId="{5E99CD24-92A0-4517-B812-FACB666915A9}">
      <dgm:prSet/>
      <dgm:spPr/>
      <dgm:t>
        <a:bodyPr/>
        <a:lstStyle/>
        <a:p>
          <a:endParaRPr lang="en-US"/>
        </a:p>
      </dgm:t>
    </dgm:pt>
    <dgm:pt modelId="{D2C5A86F-95D2-4768-82AA-3E49152753F6}" type="sibTrans" cxnId="{5E99CD24-92A0-4517-B812-FACB666915A9}">
      <dgm:prSet/>
      <dgm:spPr/>
      <dgm:t>
        <a:bodyPr/>
        <a:lstStyle/>
        <a:p>
          <a:endParaRPr lang="en-US"/>
        </a:p>
      </dgm:t>
    </dgm:pt>
    <dgm:pt modelId="{4B1A8F9C-5CEF-4C73-AB08-6B86CE3CC4B7}">
      <dgm:prSet phldrT="[Text]"/>
      <dgm:spPr/>
      <dgm:t>
        <a:bodyPr/>
        <a:lstStyle/>
        <a:p>
          <a:r>
            <a:rPr lang="en-US" dirty="0"/>
            <a:t>Identify data correlations to vet hypothesis </a:t>
          </a:r>
        </a:p>
      </dgm:t>
    </dgm:pt>
    <dgm:pt modelId="{8597FCE0-0B4E-477A-889F-08FD98FF62D9}" type="parTrans" cxnId="{17619A28-9DC9-474C-A91A-B0AE7DDDA73F}">
      <dgm:prSet/>
      <dgm:spPr/>
      <dgm:t>
        <a:bodyPr/>
        <a:lstStyle/>
        <a:p>
          <a:endParaRPr lang="en-US"/>
        </a:p>
      </dgm:t>
    </dgm:pt>
    <dgm:pt modelId="{793358FC-9D9B-4BAD-8348-2EAC26242073}" type="sibTrans" cxnId="{17619A28-9DC9-474C-A91A-B0AE7DDDA73F}">
      <dgm:prSet/>
      <dgm:spPr/>
      <dgm:t>
        <a:bodyPr/>
        <a:lstStyle/>
        <a:p>
          <a:endParaRPr lang="en-US"/>
        </a:p>
      </dgm:t>
    </dgm:pt>
    <dgm:pt modelId="{F6A0CF36-9AC0-471B-B082-A2D1218F1E99}">
      <dgm:prSet phldrT="[Text]"/>
      <dgm:spPr/>
      <dgm:t>
        <a:bodyPr/>
        <a:lstStyle/>
        <a:p>
          <a:r>
            <a:rPr lang="en-US" dirty="0"/>
            <a:t>Utilize ML to predict payment default</a:t>
          </a:r>
        </a:p>
      </dgm:t>
    </dgm:pt>
    <dgm:pt modelId="{C6FBB7CE-613E-4CD0-BDBB-1E808CF2F49F}" type="parTrans" cxnId="{368AEB6E-D343-440D-86E2-E855C40DC593}">
      <dgm:prSet/>
      <dgm:spPr/>
      <dgm:t>
        <a:bodyPr/>
        <a:lstStyle/>
        <a:p>
          <a:endParaRPr lang="en-US"/>
        </a:p>
      </dgm:t>
    </dgm:pt>
    <dgm:pt modelId="{4B470CD2-F7A0-4A7C-9C77-B496C9B1B4C1}" type="sibTrans" cxnId="{368AEB6E-D343-440D-86E2-E855C40DC593}">
      <dgm:prSet/>
      <dgm:spPr/>
      <dgm:t>
        <a:bodyPr/>
        <a:lstStyle/>
        <a:p>
          <a:endParaRPr lang="en-US"/>
        </a:p>
      </dgm:t>
    </dgm:pt>
    <dgm:pt modelId="{BB66B317-D9D7-4318-8229-B1F3150454EC}" type="pres">
      <dgm:prSet presAssocID="{D697ABA1-E7F2-488C-B678-227EB163EEC5}" presName="Name0" presStyleCnt="0">
        <dgm:presLayoutVars>
          <dgm:dir/>
          <dgm:resizeHandles val="exact"/>
        </dgm:presLayoutVars>
      </dgm:prSet>
      <dgm:spPr/>
    </dgm:pt>
    <dgm:pt modelId="{FF29C893-F0DF-4886-98CD-8DFDFB9617B7}" type="pres">
      <dgm:prSet presAssocID="{C072FD89-3FDF-4A44-8F99-5360E0272061}" presName="composite" presStyleCnt="0"/>
      <dgm:spPr/>
    </dgm:pt>
    <dgm:pt modelId="{9BC51234-3B1F-4E17-84F9-F9E5C7946B53}" type="pres">
      <dgm:prSet presAssocID="{C072FD89-3FDF-4A44-8F99-5360E0272061}" presName="bgChev" presStyleLbl="node1" presStyleIdx="0" presStyleCnt="3" custLinFactY="-23494" custLinFactNeighborY="-100000"/>
      <dgm:spPr/>
    </dgm:pt>
    <dgm:pt modelId="{9B650896-80F2-440A-873B-687C036F9456}" type="pres">
      <dgm:prSet presAssocID="{C072FD89-3FDF-4A44-8F99-5360E0272061}" presName="txNode" presStyleLbl="fgAcc1" presStyleIdx="0" presStyleCnt="3" custScaleY="256406">
        <dgm:presLayoutVars>
          <dgm:bulletEnabled val="1"/>
        </dgm:presLayoutVars>
      </dgm:prSet>
      <dgm:spPr/>
    </dgm:pt>
    <dgm:pt modelId="{ADFCD021-E0E6-402D-8140-21B154B50CB5}" type="pres">
      <dgm:prSet presAssocID="{D2C5A86F-95D2-4768-82AA-3E49152753F6}" presName="compositeSpace" presStyleCnt="0"/>
      <dgm:spPr/>
    </dgm:pt>
    <dgm:pt modelId="{B6CA9303-CAB1-4C3F-80F5-9B8C78D54702}" type="pres">
      <dgm:prSet presAssocID="{4B1A8F9C-5CEF-4C73-AB08-6B86CE3CC4B7}" presName="composite" presStyleCnt="0"/>
      <dgm:spPr/>
    </dgm:pt>
    <dgm:pt modelId="{E4E1D704-8A3F-46D2-9803-D70830226AA5}" type="pres">
      <dgm:prSet presAssocID="{4B1A8F9C-5CEF-4C73-AB08-6B86CE3CC4B7}" presName="bgChev" presStyleLbl="node1" presStyleIdx="1" presStyleCnt="3" custLinFactY="-23494" custLinFactNeighborY="-100000"/>
      <dgm:spPr/>
    </dgm:pt>
    <dgm:pt modelId="{29B6BD3C-98F4-4D94-BB94-85EFC865B8D7}" type="pres">
      <dgm:prSet presAssocID="{4B1A8F9C-5CEF-4C73-AB08-6B86CE3CC4B7}" presName="txNode" presStyleLbl="fgAcc1" presStyleIdx="1" presStyleCnt="3" custScaleY="256406">
        <dgm:presLayoutVars>
          <dgm:bulletEnabled val="1"/>
        </dgm:presLayoutVars>
      </dgm:prSet>
      <dgm:spPr/>
    </dgm:pt>
    <dgm:pt modelId="{228899AE-33DC-4C43-B82C-2B0670C0274E}" type="pres">
      <dgm:prSet presAssocID="{793358FC-9D9B-4BAD-8348-2EAC26242073}" presName="compositeSpace" presStyleCnt="0"/>
      <dgm:spPr/>
    </dgm:pt>
    <dgm:pt modelId="{C6D6A159-4885-4F75-8885-9CC57475FDB9}" type="pres">
      <dgm:prSet presAssocID="{F6A0CF36-9AC0-471B-B082-A2D1218F1E99}" presName="composite" presStyleCnt="0"/>
      <dgm:spPr/>
    </dgm:pt>
    <dgm:pt modelId="{E53F8EC9-0D4B-4BF1-A82A-2EFEAD8123EB}" type="pres">
      <dgm:prSet presAssocID="{F6A0CF36-9AC0-471B-B082-A2D1218F1E99}" presName="bgChev" presStyleLbl="node1" presStyleIdx="2" presStyleCnt="3" custLinFactY="-23494" custLinFactNeighborY="-100000"/>
      <dgm:spPr/>
    </dgm:pt>
    <dgm:pt modelId="{EB20F952-E0EC-40BC-A612-992B11A1ECF6}" type="pres">
      <dgm:prSet presAssocID="{F6A0CF36-9AC0-471B-B082-A2D1218F1E99}" presName="txNode" presStyleLbl="fgAcc1" presStyleIdx="2" presStyleCnt="3" custScaleY="256406">
        <dgm:presLayoutVars>
          <dgm:bulletEnabled val="1"/>
        </dgm:presLayoutVars>
      </dgm:prSet>
      <dgm:spPr/>
    </dgm:pt>
  </dgm:ptLst>
  <dgm:cxnLst>
    <dgm:cxn modelId="{F215C321-6A0D-411B-88AB-389F7BB10C85}" type="presOf" srcId="{4B1A8F9C-5CEF-4C73-AB08-6B86CE3CC4B7}" destId="{29B6BD3C-98F4-4D94-BB94-85EFC865B8D7}" srcOrd="0" destOrd="0" presId="urn:microsoft.com/office/officeart/2005/8/layout/chevronAccent+Icon"/>
    <dgm:cxn modelId="{5E99CD24-92A0-4517-B812-FACB666915A9}" srcId="{D697ABA1-E7F2-488C-B678-227EB163EEC5}" destId="{C072FD89-3FDF-4A44-8F99-5360E0272061}" srcOrd="0" destOrd="0" parTransId="{52000B25-209E-46F6-8F1B-26C664B28DE8}" sibTransId="{D2C5A86F-95D2-4768-82AA-3E49152753F6}"/>
    <dgm:cxn modelId="{17619A28-9DC9-474C-A91A-B0AE7DDDA73F}" srcId="{D697ABA1-E7F2-488C-B678-227EB163EEC5}" destId="{4B1A8F9C-5CEF-4C73-AB08-6B86CE3CC4B7}" srcOrd="1" destOrd="0" parTransId="{8597FCE0-0B4E-477A-889F-08FD98FF62D9}" sibTransId="{793358FC-9D9B-4BAD-8348-2EAC26242073}"/>
    <dgm:cxn modelId="{368AEB6E-D343-440D-86E2-E855C40DC593}" srcId="{D697ABA1-E7F2-488C-B678-227EB163EEC5}" destId="{F6A0CF36-9AC0-471B-B082-A2D1218F1E99}" srcOrd="2" destOrd="0" parTransId="{C6FBB7CE-613E-4CD0-BDBB-1E808CF2F49F}" sibTransId="{4B470CD2-F7A0-4A7C-9C77-B496C9B1B4C1}"/>
    <dgm:cxn modelId="{D30DF274-AD22-4556-BE14-7D591ECDABA2}" type="presOf" srcId="{C072FD89-3FDF-4A44-8F99-5360E0272061}" destId="{9B650896-80F2-440A-873B-687C036F9456}" srcOrd="0" destOrd="0" presId="urn:microsoft.com/office/officeart/2005/8/layout/chevronAccent+Icon"/>
    <dgm:cxn modelId="{70ECFB82-697C-4DDF-9691-F80D7EB9E7D9}" type="presOf" srcId="{F6A0CF36-9AC0-471B-B082-A2D1218F1E99}" destId="{EB20F952-E0EC-40BC-A612-992B11A1ECF6}" srcOrd="0" destOrd="0" presId="urn:microsoft.com/office/officeart/2005/8/layout/chevronAccent+Icon"/>
    <dgm:cxn modelId="{1041ADC4-9B8B-4DE9-AA40-464EB05F295C}" type="presOf" srcId="{D697ABA1-E7F2-488C-B678-227EB163EEC5}" destId="{BB66B317-D9D7-4318-8229-B1F3150454EC}" srcOrd="0" destOrd="0" presId="urn:microsoft.com/office/officeart/2005/8/layout/chevronAccent+Icon"/>
    <dgm:cxn modelId="{E097A1B2-1935-41A1-8201-663C82352C97}" type="presParOf" srcId="{BB66B317-D9D7-4318-8229-B1F3150454EC}" destId="{FF29C893-F0DF-4886-98CD-8DFDFB9617B7}" srcOrd="0" destOrd="0" presId="urn:microsoft.com/office/officeart/2005/8/layout/chevronAccent+Icon"/>
    <dgm:cxn modelId="{AF13DC00-9AF3-44E9-9C9F-C234930AF828}" type="presParOf" srcId="{FF29C893-F0DF-4886-98CD-8DFDFB9617B7}" destId="{9BC51234-3B1F-4E17-84F9-F9E5C7946B53}" srcOrd="0" destOrd="0" presId="urn:microsoft.com/office/officeart/2005/8/layout/chevronAccent+Icon"/>
    <dgm:cxn modelId="{42328012-8E05-48C3-B478-DC42E4D6E089}" type="presParOf" srcId="{FF29C893-F0DF-4886-98CD-8DFDFB9617B7}" destId="{9B650896-80F2-440A-873B-687C036F9456}" srcOrd="1" destOrd="0" presId="urn:microsoft.com/office/officeart/2005/8/layout/chevronAccent+Icon"/>
    <dgm:cxn modelId="{5C6E658B-C3D8-4D1D-BAF8-2EC81D17A0E0}" type="presParOf" srcId="{BB66B317-D9D7-4318-8229-B1F3150454EC}" destId="{ADFCD021-E0E6-402D-8140-21B154B50CB5}" srcOrd="1" destOrd="0" presId="urn:microsoft.com/office/officeart/2005/8/layout/chevronAccent+Icon"/>
    <dgm:cxn modelId="{C346580D-8627-4B50-8081-C3D121DED07C}" type="presParOf" srcId="{BB66B317-D9D7-4318-8229-B1F3150454EC}" destId="{B6CA9303-CAB1-4C3F-80F5-9B8C78D54702}" srcOrd="2" destOrd="0" presId="urn:microsoft.com/office/officeart/2005/8/layout/chevronAccent+Icon"/>
    <dgm:cxn modelId="{4411B8CF-C8B5-4CF5-9FFA-073F1D1996B6}" type="presParOf" srcId="{B6CA9303-CAB1-4C3F-80F5-9B8C78D54702}" destId="{E4E1D704-8A3F-46D2-9803-D70830226AA5}" srcOrd="0" destOrd="0" presId="urn:microsoft.com/office/officeart/2005/8/layout/chevronAccent+Icon"/>
    <dgm:cxn modelId="{2E6074FD-91A0-4D79-AD77-6C2BD5618ADE}" type="presParOf" srcId="{B6CA9303-CAB1-4C3F-80F5-9B8C78D54702}" destId="{29B6BD3C-98F4-4D94-BB94-85EFC865B8D7}" srcOrd="1" destOrd="0" presId="urn:microsoft.com/office/officeart/2005/8/layout/chevronAccent+Icon"/>
    <dgm:cxn modelId="{7D141652-3695-45B0-8713-97A114F84DA6}" type="presParOf" srcId="{BB66B317-D9D7-4318-8229-B1F3150454EC}" destId="{228899AE-33DC-4C43-B82C-2B0670C0274E}" srcOrd="3" destOrd="0" presId="urn:microsoft.com/office/officeart/2005/8/layout/chevronAccent+Icon"/>
    <dgm:cxn modelId="{9838D0D6-C5BD-45EC-B6C6-0D7EF83B2855}" type="presParOf" srcId="{BB66B317-D9D7-4318-8229-B1F3150454EC}" destId="{C6D6A159-4885-4F75-8885-9CC57475FDB9}" srcOrd="4" destOrd="0" presId="urn:microsoft.com/office/officeart/2005/8/layout/chevronAccent+Icon"/>
    <dgm:cxn modelId="{39CCE28B-621A-450B-99CB-2CEB9FB659F0}" type="presParOf" srcId="{C6D6A159-4885-4F75-8885-9CC57475FDB9}" destId="{E53F8EC9-0D4B-4BF1-A82A-2EFEAD8123EB}" srcOrd="0" destOrd="0" presId="urn:microsoft.com/office/officeart/2005/8/layout/chevronAccent+Icon"/>
    <dgm:cxn modelId="{A3D44C49-99C6-4F8F-8433-010A406EAE77}" type="presParOf" srcId="{C6D6A159-4885-4F75-8885-9CC57475FDB9}" destId="{EB20F952-E0EC-40BC-A612-992B11A1ECF6}" srcOrd="1" destOrd="0" presId="urn:microsoft.com/office/officeart/2005/8/layout/chevronAccent+Icon"/>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C51234-3B1F-4E17-84F9-F9E5C7946B53}">
      <dsp:nvSpPr>
        <dsp:cNvPr id="0" name=""/>
        <dsp:cNvSpPr/>
      </dsp:nvSpPr>
      <dsp:spPr>
        <a:xfrm>
          <a:off x="1085" y="619678"/>
          <a:ext cx="2727343" cy="1052754"/>
        </a:xfrm>
        <a:prstGeom prst="chevron">
          <a:avLst>
            <a:gd name="adj" fmla="val 40000"/>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B650896-80F2-440A-873B-687C036F9456}">
      <dsp:nvSpPr>
        <dsp:cNvPr id="0" name=""/>
        <dsp:cNvSpPr/>
      </dsp:nvSpPr>
      <dsp:spPr>
        <a:xfrm>
          <a:off x="728377" y="1359670"/>
          <a:ext cx="2303089" cy="2699325"/>
        </a:xfrm>
        <a:prstGeom prst="roundRect">
          <a:avLst>
            <a:gd name="adj" fmla="val 10000"/>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dirty="0"/>
            <a:t>Preprocess and clean data, removing all duplicates, and missing or incomplete data</a:t>
          </a:r>
        </a:p>
      </dsp:txBody>
      <dsp:txXfrm>
        <a:off x="795832" y="1427125"/>
        <a:ext cx="2168179" cy="2564415"/>
      </dsp:txXfrm>
    </dsp:sp>
    <dsp:sp modelId="{E4E1D704-8A3F-46D2-9803-D70830226AA5}">
      <dsp:nvSpPr>
        <dsp:cNvPr id="0" name=""/>
        <dsp:cNvSpPr/>
      </dsp:nvSpPr>
      <dsp:spPr>
        <a:xfrm>
          <a:off x="3116317" y="619678"/>
          <a:ext cx="2727343" cy="1052754"/>
        </a:xfrm>
        <a:prstGeom prst="chevron">
          <a:avLst>
            <a:gd name="adj" fmla="val 40000"/>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B6BD3C-98F4-4D94-BB94-85EFC865B8D7}">
      <dsp:nvSpPr>
        <dsp:cNvPr id="0" name=""/>
        <dsp:cNvSpPr/>
      </dsp:nvSpPr>
      <dsp:spPr>
        <a:xfrm>
          <a:off x="3843609" y="1359670"/>
          <a:ext cx="2303089" cy="2699325"/>
        </a:xfrm>
        <a:prstGeom prst="roundRect">
          <a:avLst>
            <a:gd name="adj" fmla="val 10000"/>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dirty="0"/>
            <a:t>Identify data correlations to vet hypothesis </a:t>
          </a:r>
        </a:p>
      </dsp:txBody>
      <dsp:txXfrm>
        <a:off x="3911064" y="1427125"/>
        <a:ext cx="2168179" cy="2564415"/>
      </dsp:txXfrm>
    </dsp:sp>
    <dsp:sp modelId="{E53F8EC9-0D4B-4BF1-A82A-2EFEAD8123EB}">
      <dsp:nvSpPr>
        <dsp:cNvPr id="0" name=""/>
        <dsp:cNvSpPr/>
      </dsp:nvSpPr>
      <dsp:spPr>
        <a:xfrm>
          <a:off x="6231549" y="619678"/>
          <a:ext cx="2727343" cy="1052754"/>
        </a:xfrm>
        <a:prstGeom prst="chevron">
          <a:avLst>
            <a:gd name="adj" fmla="val 40000"/>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20F952-E0EC-40BC-A612-992B11A1ECF6}">
      <dsp:nvSpPr>
        <dsp:cNvPr id="0" name=""/>
        <dsp:cNvSpPr/>
      </dsp:nvSpPr>
      <dsp:spPr>
        <a:xfrm>
          <a:off x="6958841" y="1359670"/>
          <a:ext cx="2303089" cy="2699325"/>
        </a:xfrm>
        <a:prstGeom prst="roundRect">
          <a:avLst>
            <a:gd name="adj" fmla="val 10000"/>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dirty="0"/>
            <a:t>Utilize ML to predict payment default</a:t>
          </a:r>
        </a:p>
      </dsp:txBody>
      <dsp:txXfrm>
        <a:off x="7026296" y="1427125"/>
        <a:ext cx="2168179" cy="25644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2985B45-D99D-40D9-B905-BE520AC758D4}" type="datetimeFigureOut">
              <a:rPr lang="en-US" smtClean="0"/>
              <a:t>9/15/2021</a:t>
            </a:fld>
            <a:endParaRPr lang="en-US"/>
          </a:p>
        </p:txBody>
      </p:sp>
      <p:sp>
        <p:nvSpPr>
          <p:cNvPr id="5" name="Footer Placeholder 4"/>
          <p:cNvSpPr>
            <a:spLocks noGrp="1"/>
          </p:cNvSpPr>
          <p:nvPr>
            <p:ph type="ftr" sz="quarter" idx="11"/>
          </p:nvPr>
        </p:nvSpPr>
        <p:spPr/>
        <p:txBody>
          <a:bodyPr/>
          <a:lstStyle/>
          <a:p>
            <a:endParaRPr lang="en-US"/>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20735706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985B45-D99D-40D9-B905-BE520AC758D4}" type="datetimeFigureOut">
              <a:rPr lang="en-US" smtClean="0"/>
              <a:t>9/15/2021</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11764315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985B45-D99D-40D9-B905-BE520AC758D4}" type="datetimeFigureOut">
              <a:rPr lang="en-US" smtClean="0"/>
              <a:t>9/15/2021</a:t>
            </a:fld>
            <a:endParaRPr lang="en-US"/>
          </a:p>
        </p:txBody>
      </p:sp>
      <p:sp>
        <p:nvSpPr>
          <p:cNvPr id="5" name="Footer Placeholder 4"/>
          <p:cNvSpPr>
            <a:spLocks noGrp="1"/>
          </p:cNvSpPr>
          <p:nvPr>
            <p:ph type="ftr" sz="quarter" idx="11"/>
          </p:nvPr>
        </p:nvSpPr>
        <p:spPr/>
        <p:txBody>
          <a:bodyPr/>
          <a:lstStyle/>
          <a:p>
            <a:endParaRPr lang="en-US"/>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ADC1772-35C8-4F4B-95CD-0791C22A12B3}" type="slidenum">
              <a:rPr lang="en-US" smtClean="0"/>
              <a:t>‹#›</a:t>
            </a:fld>
            <a:endParaRPr lang="en-US"/>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5147189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52985B45-D99D-40D9-B905-BE520AC758D4}" type="datetimeFigureOut">
              <a:rPr lang="en-US" smtClean="0"/>
              <a:t>9/15/2021</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1861929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52985B45-D99D-40D9-B905-BE520AC758D4}" type="datetimeFigureOut">
              <a:rPr lang="en-US" smtClean="0"/>
              <a:t>9/15/2021</a:t>
            </a:fld>
            <a:endParaRPr lang="en-US"/>
          </a:p>
        </p:txBody>
      </p:sp>
      <p:sp>
        <p:nvSpPr>
          <p:cNvPr id="6" name="Footer Placeholder 5"/>
          <p:cNvSpPr>
            <a:spLocks noGrp="1"/>
          </p:cNvSpPr>
          <p:nvPr>
            <p:ph type="ftr" sz="quarter" idx="11"/>
          </p:nvPr>
        </p:nvSpPr>
        <p:spPr/>
        <p:txBody>
          <a:bodyPr/>
          <a:lstStyle/>
          <a:p>
            <a:endParaRPr lang="en-US"/>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ADC1772-35C8-4F4B-95CD-0791C22A12B3}" type="slidenum">
              <a:rPr lang="en-US" smtClean="0"/>
              <a:t>‹#›</a:t>
            </a:fld>
            <a:endParaRPr lang="en-US"/>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6268998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52985B45-D99D-40D9-B905-BE520AC758D4}" type="datetimeFigureOut">
              <a:rPr lang="en-US" smtClean="0"/>
              <a:t>9/15/2021</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1433822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985B45-D99D-40D9-B905-BE520AC758D4}" type="datetimeFigureOut">
              <a:rPr lang="en-US" smtClean="0"/>
              <a:t>9/15/2021</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41217083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985B45-D99D-40D9-B905-BE520AC758D4}" type="datetimeFigureOut">
              <a:rPr lang="en-US" smtClean="0"/>
              <a:t>9/15/2021</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1522744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985B45-D99D-40D9-B905-BE520AC758D4}" type="datetimeFigureOut">
              <a:rPr lang="en-US" smtClean="0"/>
              <a:t>9/15/2021</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3529698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985B45-D99D-40D9-B905-BE520AC758D4}" type="datetimeFigureOut">
              <a:rPr lang="en-US" smtClean="0"/>
              <a:t>9/15/2021</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2991714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2985B45-D99D-40D9-B905-BE520AC758D4}" type="datetimeFigureOut">
              <a:rPr lang="en-US" smtClean="0"/>
              <a:t>9/15/2021</a:t>
            </a:fld>
            <a:endParaRPr lang="en-US"/>
          </a:p>
        </p:txBody>
      </p:sp>
      <p:sp>
        <p:nvSpPr>
          <p:cNvPr id="6" name="Footer Placeholder 5"/>
          <p:cNvSpPr>
            <a:spLocks noGrp="1"/>
          </p:cNvSpPr>
          <p:nvPr>
            <p:ph type="ftr" sz="quarter" idx="11"/>
          </p:nvPr>
        </p:nvSpPr>
        <p:spPr/>
        <p:txBody>
          <a:bodyPr/>
          <a:lstStyle/>
          <a:p>
            <a:endParaRPr lang="en-US"/>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2474730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2985B45-D99D-40D9-B905-BE520AC758D4}" type="datetimeFigureOut">
              <a:rPr lang="en-US" smtClean="0"/>
              <a:t>9/15/2021</a:t>
            </a:fld>
            <a:endParaRPr lang="en-US"/>
          </a:p>
        </p:txBody>
      </p:sp>
      <p:sp>
        <p:nvSpPr>
          <p:cNvPr id="8" name="Footer Placeholder 7"/>
          <p:cNvSpPr>
            <a:spLocks noGrp="1"/>
          </p:cNvSpPr>
          <p:nvPr>
            <p:ph type="ftr" sz="quarter" idx="11"/>
          </p:nvPr>
        </p:nvSpPr>
        <p:spPr/>
        <p:txBody>
          <a:bodyPr/>
          <a:lstStyle/>
          <a:p>
            <a:endParaRPr lang="en-US"/>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131997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2985B45-D99D-40D9-B905-BE520AC758D4}" type="datetimeFigureOut">
              <a:rPr lang="en-US" smtClean="0"/>
              <a:t>9/15/2021</a:t>
            </a:fld>
            <a:endParaRPr lang="en-US"/>
          </a:p>
        </p:txBody>
      </p:sp>
      <p:sp>
        <p:nvSpPr>
          <p:cNvPr id="4" name="Footer Placeholder 3"/>
          <p:cNvSpPr>
            <a:spLocks noGrp="1"/>
          </p:cNvSpPr>
          <p:nvPr>
            <p:ph type="ftr" sz="quarter" idx="11"/>
          </p:nvPr>
        </p:nvSpPr>
        <p:spPr/>
        <p:txBody>
          <a:bodyPr/>
          <a:lstStyle/>
          <a:p>
            <a:endParaRPr lang="en-US"/>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4001338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985B45-D99D-40D9-B905-BE520AC758D4}" type="datetimeFigureOut">
              <a:rPr lang="en-US" smtClean="0"/>
              <a:t>9/15/2021</a:t>
            </a:fld>
            <a:endParaRPr lang="en-US"/>
          </a:p>
        </p:txBody>
      </p:sp>
      <p:sp>
        <p:nvSpPr>
          <p:cNvPr id="3" name="Footer Placeholder 2"/>
          <p:cNvSpPr>
            <a:spLocks noGrp="1"/>
          </p:cNvSpPr>
          <p:nvPr>
            <p:ph type="ftr" sz="quarter" idx="11"/>
          </p:nvPr>
        </p:nvSpPr>
        <p:spPr/>
        <p:txBody>
          <a:bodyPr/>
          <a:lstStyle/>
          <a:p>
            <a:endParaRPr lang="en-US"/>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4122196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2985B45-D99D-40D9-B905-BE520AC758D4}" type="datetimeFigureOut">
              <a:rPr lang="en-US" smtClean="0"/>
              <a:t>9/15/2021</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22765009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2985B45-D99D-40D9-B905-BE520AC758D4}" type="datetimeFigureOut">
              <a:rPr lang="en-US" smtClean="0"/>
              <a:t>9/15/2021</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ADC1772-35C8-4F4B-95CD-0791C22A12B3}" type="slidenum">
              <a:rPr lang="en-US" smtClean="0"/>
              <a:t>‹#›</a:t>
            </a:fld>
            <a:endParaRPr lang="en-US"/>
          </a:p>
        </p:txBody>
      </p:sp>
    </p:spTree>
    <p:extLst>
      <p:ext uri="{BB962C8B-B14F-4D97-AF65-F5344CB8AC3E}">
        <p14:creationId xmlns:p14="http://schemas.microsoft.com/office/powerpoint/2010/main" val="18423137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157"/>
            <a:ext cx="2356674" cy="6853096"/>
            <a:chOff x="6627813" y="195610"/>
            <a:chExt cx="1952625" cy="5678141"/>
          </a:xfrm>
        </p:grpSpPr>
        <p:sp>
          <p:nvSpPr>
            <p:cNvPr id="11" name="Freeform 27"/>
            <p:cNvSpPr/>
            <p:nvPr/>
          </p:nvSpPr>
          <p:spPr bwMode="auto">
            <a:xfrm>
              <a:off x="6627813" y="195610"/>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52985B45-D99D-40D9-B905-BE520AC758D4}" type="datetimeFigureOut">
              <a:rPr lang="en-US" smtClean="0"/>
              <a:t>9/15/2021</a:t>
            </a:fld>
            <a:endParaRPr lang="en-US"/>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ADC1772-35C8-4F4B-95CD-0791C22A12B3}" type="slidenum">
              <a:rPr lang="en-US" smtClean="0"/>
              <a:t>‹#›</a:t>
            </a:fld>
            <a:endParaRPr lang="en-US"/>
          </a:p>
        </p:txBody>
      </p:sp>
      <p:graphicFrame>
        <p:nvGraphicFramePr>
          <p:cNvPr id="36" name="Object 35" hidden="1">
            <a:extLst>
              <a:ext uri="{FF2B5EF4-FFF2-40B4-BE49-F238E27FC236}">
                <a16:creationId xmlns:a16="http://schemas.microsoft.com/office/drawing/2014/main" id="{DB7C1B80-69EB-4DD8-8471-06A0C404FC00}"/>
              </a:ext>
            </a:extLst>
          </p:cNvPr>
          <p:cNvGraphicFramePr>
            <a:graphicFrameLocks noChangeAspect="1"/>
          </p:cNvGraphicFramePr>
          <p:nvPr userDrawn="1">
            <p:custDataLst>
              <p:tags r:id="rId19"/>
            </p:custDataLst>
            <p:extLst>
              <p:ext uri="{D42A27DB-BD31-4B8C-83A1-F6EECF244321}">
                <p14:modId xmlns:p14="http://schemas.microsoft.com/office/powerpoint/2010/main" val="3301806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0" imgW="475" imgH="476" progId="TCLayout.ActiveDocument.1">
                  <p:embed/>
                </p:oleObj>
              </mc:Choice>
              <mc:Fallback>
                <p:oleObj name="think-cell Slide" r:id="rId20" imgW="475" imgH="476" progId="TCLayout.ActiveDocument.1">
                  <p:embed/>
                  <p:pic>
                    <p:nvPicPr>
                      <p:cNvPr id="36" name="Object 35" hidden="1">
                        <a:extLst>
                          <a:ext uri="{FF2B5EF4-FFF2-40B4-BE49-F238E27FC236}">
                            <a16:creationId xmlns:a16="http://schemas.microsoft.com/office/drawing/2014/main" id="{DB7C1B80-69EB-4DD8-8471-06A0C404FC0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96228187"/>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Lst>
  <p:txStyles>
    <p:titleStyle>
      <a:lvl1pPr algn="l" defTabSz="457200" rtl="0" eaLnBrk="1" latinLnBrk="0" hangingPunct="1">
        <a:spcBef>
          <a:spcPct val="0"/>
        </a:spcBef>
        <a:buNone/>
        <a:defRPr sz="3600" kern="1200">
          <a:solidFill>
            <a:schemeClr val="accent2">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4.xml"/><Relationship Id="rId7" Type="http://schemas.openxmlformats.org/officeDocument/2006/relationships/diagramLayout" Target="../diagrams/layou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diagramData" Target="../diagrams/data1.xml"/><Relationship Id="rId5" Type="http://schemas.openxmlformats.org/officeDocument/2006/relationships/image" Target="../media/image2.emf"/><Relationship Id="rId10" Type="http://schemas.microsoft.com/office/2007/relationships/diagramDrawing" Target="../diagrams/drawing1.xml"/><Relationship Id="rId4" Type="http://schemas.openxmlformats.org/officeDocument/2006/relationships/oleObject" Target="../embeddings/oleObject6.bin"/><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9BA20-E327-4A81-8D54-D52DE3472978}"/>
              </a:ext>
            </a:extLst>
          </p:cNvPr>
          <p:cNvGraphicFramePr>
            <a:graphicFrameLocks noChangeAspect="1"/>
          </p:cNvGraphicFramePr>
          <p:nvPr>
            <p:custDataLst>
              <p:tags r:id="rId2"/>
            </p:custDataLst>
            <p:extLst>
              <p:ext uri="{D42A27DB-BD31-4B8C-83A1-F6EECF244321}">
                <p14:modId xmlns:p14="http://schemas.microsoft.com/office/powerpoint/2010/main" val="113052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75" imgH="476" progId="TCLayout.ActiveDocument.1">
                  <p:embed/>
                </p:oleObj>
              </mc:Choice>
              <mc:Fallback>
                <p:oleObj name="think-cell Slide" r:id="rId4" imgW="475" imgH="476" progId="TCLayout.ActiveDocument.1">
                  <p:embed/>
                  <p:pic>
                    <p:nvPicPr>
                      <p:cNvPr id="4" name="Object 3" hidden="1">
                        <a:extLst>
                          <a:ext uri="{FF2B5EF4-FFF2-40B4-BE49-F238E27FC236}">
                            <a16:creationId xmlns:a16="http://schemas.microsoft.com/office/drawing/2014/main" id="{2609BA20-E327-4A81-8D54-D52DE34729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B452C3-9DD3-4B82-A015-B35FFA323A4C}"/>
              </a:ext>
            </a:extLst>
          </p:cNvPr>
          <p:cNvSpPr>
            <a:spLocks noGrp="1"/>
          </p:cNvSpPr>
          <p:nvPr>
            <p:ph type="ctrTitle"/>
          </p:nvPr>
        </p:nvSpPr>
        <p:spPr/>
        <p:txBody>
          <a:bodyPr vert="horz">
            <a:normAutofit/>
          </a:bodyPr>
          <a:lstStyle/>
          <a:p>
            <a:r>
              <a:rPr lang="en-US" sz="4400" i="1" dirty="0"/>
              <a:t>Payment Default Analysis</a:t>
            </a:r>
            <a:br>
              <a:rPr lang="en-US" sz="4400" i="1" dirty="0"/>
            </a:br>
            <a:r>
              <a:rPr lang="en-US" sz="3200" i="1" dirty="0"/>
              <a:t>Credit One</a:t>
            </a:r>
            <a:endParaRPr lang="en-US" sz="4400" i="1" dirty="0"/>
          </a:p>
        </p:txBody>
      </p:sp>
      <p:sp>
        <p:nvSpPr>
          <p:cNvPr id="3" name="Subtitle 2">
            <a:extLst>
              <a:ext uri="{FF2B5EF4-FFF2-40B4-BE49-F238E27FC236}">
                <a16:creationId xmlns:a16="http://schemas.microsoft.com/office/drawing/2014/main" id="{D0248EFC-1299-4D82-BA6E-121EDDB54778}"/>
              </a:ext>
            </a:extLst>
          </p:cNvPr>
          <p:cNvSpPr>
            <a:spLocks noGrp="1"/>
          </p:cNvSpPr>
          <p:nvPr>
            <p:ph type="subTitle" idx="1"/>
          </p:nvPr>
        </p:nvSpPr>
        <p:spPr/>
        <p:txBody>
          <a:bodyPr>
            <a:normAutofit/>
          </a:bodyPr>
          <a:lstStyle/>
          <a:p>
            <a:r>
              <a:rPr lang="en-US" sz="2400" dirty="0"/>
              <a:t>Drew Doty</a:t>
            </a:r>
            <a:endParaRPr lang="en-US" sz="1600" dirty="0"/>
          </a:p>
        </p:txBody>
      </p:sp>
    </p:spTree>
    <p:extLst>
      <p:ext uri="{BB962C8B-B14F-4D97-AF65-F5344CB8AC3E}">
        <p14:creationId xmlns:p14="http://schemas.microsoft.com/office/powerpoint/2010/main" val="1413579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5261AB-3E3E-4AD6-B714-052561CB2528}"/>
              </a:ext>
            </a:extLst>
          </p:cNvPr>
          <p:cNvGraphicFramePr>
            <a:graphicFrameLocks noChangeAspect="1"/>
          </p:cNvGraphicFramePr>
          <p:nvPr>
            <p:custDataLst>
              <p:tags r:id="rId2"/>
            </p:custDataLst>
            <p:extLst>
              <p:ext uri="{D42A27DB-BD31-4B8C-83A1-F6EECF244321}">
                <p14:modId xmlns:p14="http://schemas.microsoft.com/office/powerpoint/2010/main" val="347748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4C5261AB-3E3E-4AD6-B714-052561CB25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63ECB6-DCC2-418F-ADFA-D74160D1127D}"/>
              </a:ext>
            </a:extLst>
          </p:cNvPr>
          <p:cNvSpPr>
            <a:spLocks noGrp="1"/>
          </p:cNvSpPr>
          <p:nvPr>
            <p:ph type="title"/>
          </p:nvPr>
        </p:nvSpPr>
        <p:spPr>
          <a:xfrm>
            <a:off x="1766904" y="624716"/>
            <a:ext cx="8911687" cy="688642"/>
          </a:xfrm>
        </p:spPr>
        <p:txBody>
          <a:bodyPr vert="horz"/>
          <a:lstStyle/>
          <a:p>
            <a:r>
              <a:rPr lang="en-US" dirty="0"/>
              <a:t>Project Scope</a:t>
            </a:r>
          </a:p>
        </p:txBody>
      </p:sp>
      <p:graphicFrame>
        <p:nvGraphicFramePr>
          <p:cNvPr id="4" name="Table 4">
            <a:extLst>
              <a:ext uri="{FF2B5EF4-FFF2-40B4-BE49-F238E27FC236}">
                <a16:creationId xmlns:a16="http://schemas.microsoft.com/office/drawing/2014/main" id="{140BF0F2-809A-4674-876A-BD9F1C715C14}"/>
              </a:ext>
            </a:extLst>
          </p:cNvPr>
          <p:cNvGraphicFramePr>
            <a:graphicFrameLocks noGrp="1"/>
          </p:cNvGraphicFramePr>
          <p:nvPr>
            <p:extLst>
              <p:ext uri="{D42A27DB-BD31-4B8C-83A1-F6EECF244321}">
                <p14:modId xmlns:p14="http://schemas.microsoft.com/office/powerpoint/2010/main" val="3805727166"/>
              </p:ext>
            </p:extLst>
          </p:nvPr>
        </p:nvGraphicFramePr>
        <p:xfrm>
          <a:off x="1766903" y="1390225"/>
          <a:ext cx="9737119" cy="3251486"/>
        </p:xfrm>
        <a:graphic>
          <a:graphicData uri="http://schemas.openxmlformats.org/drawingml/2006/table">
            <a:tbl>
              <a:tblPr firstRow="1" bandRow="1">
                <a:tableStyleId>{D7AC3CCA-C797-4891-BE02-D94E43425B78}</a:tableStyleId>
              </a:tblPr>
              <a:tblGrid>
                <a:gridCol w="555588">
                  <a:extLst>
                    <a:ext uri="{9D8B030D-6E8A-4147-A177-3AD203B41FA5}">
                      <a16:colId xmlns:a16="http://schemas.microsoft.com/office/drawing/2014/main" val="411399961"/>
                    </a:ext>
                  </a:extLst>
                </a:gridCol>
                <a:gridCol w="4541006">
                  <a:extLst>
                    <a:ext uri="{9D8B030D-6E8A-4147-A177-3AD203B41FA5}">
                      <a16:colId xmlns:a16="http://schemas.microsoft.com/office/drawing/2014/main" val="3625104172"/>
                    </a:ext>
                  </a:extLst>
                </a:gridCol>
                <a:gridCol w="4640525">
                  <a:extLst>
                    <a:ext uri="{9D8B030D-6E8A-4147-A177-3AD203B41FA5}">
                      <a16:colId xmlns:a16="http://schemas.microsoft.com/office/drawing/2014/main" val="3475939242"/>
                    </a:ext>
                  </a:extLst>
                </a:gridCol>
              </a:tblGrid>
              <a:tr h="1457563">
                <a:tc>
                  <a:txBody>
                    <a:bodyPr/>
                    <a:lstStyle/>
                    <a:p>
                      <a:r>
                        <a:rPr lang="en-US" b="0" dirty="0"/>
                        <a:t>1.</a:t>
                      </a:r>
                    </a:p>
                  </a:txBody>
                  <a:tcP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74902"/>
                      </a:srgbClr>
                    </a:solidFill>
                  </a:tcPr>
                </a:tc>
                <a:tc>
                  <a:txBody>
                    <a:bodyPr/>
                    <a:lstStyle/>
                    <a:p>
                      <a:r>
                        <a:rPr lang="en-US" b="0" dirty="0"/>
                        <a:t>Can we identify which groups of individuals are more and less likely to default on payment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74902"/>
                      </a:srgbClr>
                    </a:solidFill>
                  </a:tcPr>
                </a:tc>
                <a:tc>
                  <a:txBody>
                    <a:bodyPr/>
                    <a:lstStyle/>
                    <a:p>
                      <a:r>
                        <a:rPr lang="en-US" b="0" dirty="0"/>
                        <a:t>Identifying which groups of individuals default would help Credit One determine which individuals to take on as new customers</a:t>
                      </a:r>
                    </a:p>
                  </a:txBody>
                  <a:tcPr>
                    <a:lnL w="12700" cap="flat" cmpd="sng" algn="ctr">
                      <a:solidFill>
                        <a:schemeClr val="bg1">
                          <a:lumMod val="75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948148842"/>
                  </a:ext>
                </a:extLst>
              </a:tr>
              <a:tr h="1793923">
                <a:tc>
                  <a:txBody>
                    <a:bodyPr/>
                    <a:lstStyle/>
                    <a:p>
                      <a:r>
                        <a:rPr lang="en-US" dirty="0"/>
                        <a:t>2.</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alpha val="74902"/>
                      </a:srgbClr>
                    </a:solidFill>
                  </a:tcPr>
                </a:tc>
                <a:tc>
                  <a:txBody>
                    <a:bodyPr/>
                    <a:lstStyle/>
                    <a:p>
                      <a:r>
                        <a:rPr lang="en-US" dirty="0"/>
                        <a:t>Can we predict which individuals will default on payments based on credit score and other demographic data that can be collected prior to individuals becoming customers?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alpha val="74902"/>
                      </a:srgbClr>
                    </a:solidFill>
                  </a:tcPr>
                </a:tc>
                <a:tc>
                  <a:txBody>
                    <a:bodyPr/>
                    <a:lstStyle/>
                    <a:p>
                      <a:r>
                        <a:rPr lang="en-US" dirty="0"/>
                        <a:t>Predicting which individuals would default on payments would allow Credit One to utilize applicable data to determine which individuals to take on as customers or where to apply higher interest rates.</a:t>
                      </a:r>
                    </a:p>
                  </a:txBody>
                  <a:tcPr>
                    <a:lnL w="12700" cap="flat" cmpd="sng" algn="ctr">
                      <a:solidFill>
                        <a:schemeClr val="bg1">
                          <a:lumMod val="75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210486270"/>
                  </a:ext>
                </a:extLst>
              </a:tr>
            </a:tbl>
          </a:graphicData>
        </a:graphic>
      </p:graphicFrame>
    </p:spTree>
    <p:extLst>
      <p:ext uri="{BB962C8B-B14F-4D97-AF65-F5344CB8AC3E}">
        <p14:creationId xmlns:p14="http://schemas.microsoft.com/office/powerpoint/2010/main" val="36475450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5261AB-3E3E-4AD6-B714-052561CB2528}"/>
              </a:ext>
            </a:extLst>
          </p:cNvPr>
          <p:cNvGraphicFramePr>
            <a:graphicFrameLocks noChangeAspect="1"/>
          </p:cNvGraphicFramePr>
          <p:nvPr>
            <p:custDataLst>
              <p:tags r:id="rId2"/>
            </p:custDataLst>
            <p:extLst>
              <p:ext uri="{D42A27DB-BD31-4B8C-83A1-F6EECF244321}">
                <p14:modId xmlns:p14="http://schemas.microsoft.com/office/powerpoint/2010/main" val="2866972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4C5261AB-3E3E-4AD6-B714-052561CB25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63ECB6-DCC2-418F-ADFA-D74160D1127D}"/>
              </a:ext>
            </a:extLst>
          </p:cNvPr>
          <p:cNvSpPr>
            <a:spLocks noGrp="1"/>
          </p:cNvSpPr>
          <p:nvPr>
            <p:ph type="title"/>
          </p:nvPr>
        </p:nvSpPr>
        <p:spPr>
          <a:xfrm>
            <a:off x="1766904" y="624716"/>
            <a:ext cx="8911687" cy="688642"/>
          </a:xfrm>
        </p:spPr>
        <p:txBody>
          <a:bodyPr vert="horz"/>
          <a:lstStyle/>
          <a:p>
            <a:r>
              <a:rPr lang="en-US" dirty="0"/>
              <a:t>Hypothesis</a:t>
            </a:r>
          </a:p>
        </p:txBody>
      </p:sp>
      <p:graphicFrame>
        <p:nvGraphicFramePr>
          <p:cNvPr id="4" name="Table 4">
            <a:extLst>
              <a:ext uri="{FF2B5EF4-FFF2-40B4-BE49-F238E27FC236}">
                <a16:creationId xmlns:a16="http://schemas.microsoft.com/office/drawing/2014/main" id="{140BF0F2-809A-4674-876A-BD9F1C715C14}"/>
              </a:ext>
            </a:extLst>
          </p:cNvPr>
          <p:cNvGraphicFramePr>
            <a:graphicFrameLocks noGrp="1"/>
          </p:cNvGraphicFramePr>
          <p:nvPr>
            <p:extLst>
              <p:ext uri="{D42A27DB-BD31-4B8C-83A1-F6EECF244321}">
                <p14:modId xmlns:p14="http://schemas.microsoft.com/office/powerpoint/2010/main" val="1757569390"/>
              </p:ext>
            </p:extLst>
          </p:nvPr>
        </p:nvGraphicFramePr>
        <p:xfrm>
          <a:off x="1766903" y="1390225"/>
          <a:ext cx="9737119" cy="3531283"/>
        </p:xfrm>
        <a:graphic>
          <a:graphicData uri="http://schemas.openxmlformats.org/drawingml/2006/table">
            <a:tbl>
              <a:tblPr firstRow="1" bandRow="1">
                <a:tableStyleId>{D7AC3CCA-C797-4891-BE02-D94E43425B78}</a:tableStyleId>
              </a:tblPr>
              <a:tblGrid>
                <a:gridCol w="555588">
                  <a:extLst>
                    <a:ext uri="{9D8B030D-6E8A-4147-A177-3AD203B41FA5}">
                      <a16:colId xmlns:a16="http://schemas.microsoft.com/office/drawing/2014/main" val="411399961"/>
                    </a:ext>
                  </a:extLst>
                </a:gridCol>
                <a:gridCol w="4541006">
                  <a:extLst>
                    <a:ext uri="{9D8B030D-6E8A-4147-A177-3AD203B41FA5}">
                      <a16:colId xmlns:a16="http://schemas.microsoft.com/office/drawing/2014/main" val="3625104172"/>
                    </a:ext>
                  </a:extLst>
                </a:gridCol>
                <a:gridCol w="4640525">
                  <a:extLst>
                    <a:ext uri="{9D8B030D-6E8A-4147-A177-3AD203B41FA5}">
                      <a16:colId xmlns:a16="http://schemas.microsoft.com/office/drawing/2014/main" val="3475939242"/>
                    </a:ext>
                  </a:extLst>
                </a:gridCol>
              </a:tblGrid>
              <a:tr h="1457563">
                <a:tc>
                  <a:txBody>
                    <a:bodyPr/>
                    <a:lstStyle/>
                    <a:p>
                      <a:r>
                        <a:rPr lang="en-US" b="0" dirty="0"/>
                        <a:t>1.</a:t>
                      </a:r>
                    </a:p>
                  </a:txBody>
                  <a:tcP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74902"/>
                      </a:srgbClr>
                    </a:solidFill>
                  </a:tcPr>
                </a:tc>
                <a:tc>
                  <a:txBody>
                    <a:bodyPr/>
                    <a:lstStyle/>
                    <a:p>
                      <a:r>
                        <a:rPr lang="en-US" b="0" dirty="0"/>
                        <a:t>Can we identify which groups of individuals are more and less likely to default on payment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74902"/>
                      </a:srgbClr>
                    </a:solidFill>
                  </a:tcPr>
                </a:tc>
                <a:tc>
                  <a:txBody>
                    <a:bodyPr/>
                    <a:lstStyle/>
                    <a:p>
                      <a:r>
                        <a:rPr lang="en-US" b="0" dirty="0"/>
                        <a:t>I expect sex to have an indirect correlation to default</a:t>
                      </a:r>
                    </a:p>
                    <a:p>
                      <a:r>
                        <a:rPr lang="en-US" b="0" dirty="0"/>
                        <a:t>I expect education to have an indirect correlation to default</a:t>
                      </a:r>
                    </a:p>
                    <a:p>
                      <a:r>
                        <a:rPr lang="en-US" b="0" dirty="0"/>
                        <a:t>I expect married individuals to be less likely to default</a:t>
                      </a:r>
                    </a:p>
                  </a:txBody>
                  <a:tcPr>
                    <a:lnL w="12700" cap="flat" cmpd="sng" algn="ctr">
                      <a:solidFill>
                        <a:schemeClr val="bg1">
                          <a:lumMod val="75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2948148842"/>
                  </a:ext>
                </a:extLst>
              </a:tr>
              <a:tr h="1793923">
                <a:tc>
                  <a:txBody>
                    <a:bodyPr/>
                    <a:lstStyle/>
                    <a:p>
                      <a:r>
                        <a:rPr lang="en-US" dirty="0"/>
                        <a:t>2.</a:t>
                      </a: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alpha val="74902"/>
                      </a:srgbClr>
                    </a:solidFill>
                  </a:tcPr>
                </a:tc>
                <a:tc>
                  <a:txBody>
                    <a:bodyPr/>
                    <a:lstStyle/>
                    <a:p>
                      <a:r>
                        <a:rPr lang="en-US" dirty="0"/>
                        <a:t>Can we predict which individuals will default on payments based demographic data that can be collected prior to individuals becoming customers?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alpha val="74902"/>
                      </a:srgbClr>
                    </a:solidFill>
                  </a:tcPr>
                </a:tc>
                <a:tc>
                  <a:txBody>
                    <a:bodyPr/>
                    <a:lstStyle/>
                    <a:p>
                      <a:r>
                        <a:rPr lang="en-US" dirty="0"/>
                        <a:t>Utilizing sex, education, marriage and age I expect to be able to predict which individuals will default </a:t>
                      </a:r>
                      <a:r>
                        <a:rPr lang="en-US"/>
                        <a:t>on payments. </a:t>
                      </a:r>
                      <a:endParaRPr lang="en-US" dirty="0"/>
                    </a:p>
                  </a:txBody>
                  <a:tcPr>
                    <a:lnL w="12700" cap="flat" cmpd="sng" algn="ctr">
                      <a:solidFill>
                        <a:schemeClr val="bg1">
                          <a:lumMod val="75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alpha val="74902"/>
                      </a:srgbClr>
                    </a:solidFill>
                  </a:tcPr>
                </a:tc>
                <a:extLst>
                  <a:ext uri="{0D108BD9-81ED-4DB2-BD59-A6C34878D82A}">
                    <a16:rowId xmlns:a16="http://schemas.microsoft.com/office/drawing/2014/main" val="4210486270"/>
                  </a:ext>
                </a:extLst>
              </a:tr>
            </a:tbl>
          </a:graphicData>
        </a:graphic>
      </p:graphicFrame>
    </p:spTree>
    <p:extLst>
      <p:ext uri="{BB962C8B-B14F-4D97-AF65-F5344CB8AC3E}">
        <p14:creationId xmlns:p14="http://schemas.microsoft.com/office/powerpoint/2010/main" val="11928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5261AB-3E3E-4AD6-B714-052561CB2528}"/>
              </a:ext>
            </a:extLst>
          </p:cNvPr>
          <p:cNvGraphicFramePr>
            <a:graphicFrameLocks noChangeAspect="1"/>
          </p:cNvGraphicFramePr>
          <p:nvPr>
            <p:custDataLst>
              <p:tags r:id="rId2"/>
            </p:custDataLst>
            <p:extLst>
              <p:ext uri="{D42A27DB-BD31-4B8C-83A1-F6EECF244321}">
                <p14:modId xmlns:p14="http://schemas.microsoft.com/office/powerpoint/2010/main" val="686493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4C5261AB-3E3E-4AD6-B714-052561CB25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63ECB6-DCC2-418F-ADFA-D74160D1127D}"/>
              </a:ext>
            </a:extLst>
          </p:cNvPr>
          <p:cNvSpPr>
            <a:spLocks noGrp="1"/>
          </p:cNvSpPr>
          <p:nvPr>
            <p:ph type="title"/>
          </p:nvPr>
        </p:nvSpPr>
        <p:spPr>
          <a:xfrm>
            <a:off x="1766904" y="624716"/>
            <a:ext cx="8911687" cy="688642"/>
          </a:xfrm>
        </p:spPr>
        <p:txBody>
          <a:bodyPr vert="horz"/>
          <a:lstStyle/>
          <a:p>
            <a:r>
              <a:rPr lang="en-US" dirty="0"/>
              <a:t>Data Collection, Security and Issues</a:t>
            </a:r>
          </a:p>
        </p:txBody>
      </p:sp>
      <p:sp>
        <p:nvSpPr>
          <p:cNvPr id="7" name="TextBox 6">
            <a:extLst>
              <a:ext uri="{FF2B5EF4-FFF2-40B4-BE49-F238E27FC236}">
                <a16:creationId xmlns:a16="http://schemas.microsoft.com/office/drawing/2014/main" id="{CD0EAA7B-6892-45EA-B357-31A0D6F29B1C}"/>
              </a:ext>
            </a:extLst>
          </p:cNvPr>
          <p:cNvSpPr txBox="1"/>
          <p:nvPr/>
        </p:nvSpPr>
        <p:spPr>
          <a:xfrm>
            <a:off x="1766904" y="1313358"/>
            <a:ext cx="9179770" cy="3939540"/>
          </a:xfrm>
          <a:prstGeom prst="rect">
            <a:avLst/>
          </a:prstGeom>
          <a:noFill/>
        </p:spPr>
        <p:txBody>
          <a:bodyPr wrap="square" rtlCol="0">
            <a:spAutoFit/>
          </a:bodyPr>
          <a:lstStyle/>
          <a:p>
            <a:pPr>
              <a:spcAft>
                <a:spcPts val="1200"/>
              </a:spcAft>
            </a:pPr>
            <a:r>
              <a:rPr lang="en-US" sz="2000" dirty="0"/>
              <a:t>Data Collection:</a:t>
            </a:r>
          </a:p>
          <a:p>
            <a:pPr marL="461963">
              <a:spcAft>
                <a:spcPts val="1200"/>
              </a:spcAft>
            </a:pPr>
            <a:r>
              <a:rPr lang="en-US" sz="2000" dirty="0"/>
              <a:t>Data to be delivered to data science team by Credit One for review and analysis, data located in GitHub</a:t>
            </a:r>
          </a:p>
          <a:p>
            <a:pPr>
              <a:spcAft>
                <a:spcPts val="1200"/>
              </a:spcAft>
            </a:pPr>
            <a:r>
              <a:rPr lang="en-US" sz="2000" dirty="0"/>
              <a:t>Data Security:</a:t>
            </a:r>
          </a:p>
          <a:p>
            <a:pPr marL="461963">
              <a:spcAft>
                <a:spcPts val="1200"/>
              </a:spcAft>
            </a:pPr>
            <a:r>
              <a:rPr lang="en-US" sz="2000" dirty="0"/>
              <a:t>Data will be stored on Data Science Systems network and will not be stored on private machines or storage devices</a:t>
            </a:r>
          </a:p>
          <a:p>
            <a:pPr>
              <a:spcAft>
                <a:spcPts val="1200"/>
              </a:spcAft>
            </a:pPr>
            <a:r>
              <a:rPr lang="en-US" sz="2000" dirty="0"/>
              <a:t>Data Issues:</a:t>
            </a:r>
          </a:p>
          <a:p>
            <a:pPr marL="461963">
              <a:spcAft>
                <a:spcPts val="1200"/>
              </a:spcAft>
            </a:pPr>
            <a:r>
              <a:rPr lang="en-US" sz="2000" dirty="0"/>
              <a:t>Data will need to be preprocessed, to clear out all missing or incomplete data to ensure a clean data sample is utilized for machine learning</a:t>
            </a:r>
          </a:p>
        </p:txBody>
      </p:sp>
    </p:spTree>
    <p:extLst>
      <p:ext uri="{BB962C8B-B14F-4D97-AF65-F5344CB8AC3E}">
        <p14:creationId xmlns:p14="http://schemas.microsoft.com/office/powerpoint/2010/main" val="3882144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5261AB-3E3E-4AD6-B714-052561CB2528}"/>
              </a:ext>
            </a:extLst>
          </p:cNvPr>
          <p:cNvGraphicFramePr>
            <a:graphicFrameLocks noChangeAspect="1"/>
          </p:cNvGraphicFramePr>
          <p:nvPr>
            <p:custDataLst>
              <p:tags r:id="rId2"/>
            </p:custDataLst>
            <p:extLst>
              <p:ext uri="{D42A27DB-BD31-4B8C-83A1-F6EECF244321}">
                <p14:modId xmlns:p14="http://schemas.microsoft.com/office/powerpoint/2010/main" val="406038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4C5261AB-3E3E-4AD6-B714-052561CB25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63ECB6-DCC2-418F-ADFA-D74160D1127D}"/>
              </a:ext>
            </a:extLst>
          </p:cNvPr>
          <p:cNvSpPr>
            <a:spLocks noGrp="1"/>
          </p:cNvSpPr>
          <p:nvPr>
            <p:ph type="title"/>
          </p:nvPr>
        </p:nvSpPr>
        <p:spPr>
          <a:xfrm>
            <a:off x="1766904" y="624716"/>
            <a:ext cx="8911687" cy="688642"/>
          </a:xfrm>
        </p:spPr>
        <p:txBody>
          <a:bodyPr vert="horz"/>
          <a:lstStyle/>
          <a:p>
            <a:r>
              <a:rPr lang="en-US" dirty="0"/>
              <a:t>Project Flow Chart</a:t>
            </a:r>
          </a:p>
        </p:txBody>
      </p:sp>
      <p:graphicFrame>
        <p:nvGraphicFramePr>
          <p:cNvPr id="4" name="Diagram 3">
            <a:extLst>
              <a:ext uri="{FF2B5EF4-FFF2-40B4-BE49-F238E27FC236}">
                <a16:creationId xmlns:a16="http://schemas.microsoft.com/office/drawing/2014/main" id="{664832BE-1D69-4D07-804F-993C2DA5A7F6}"/>
              </a:ext>
            </a:extLst>
          </p:cNvPr>
          <p:cNvGraphicFramePr/>
          <p:nvPr>
            <p:extLst>
              <p:ext uri="{D42A27DB-BD31-4B8C-83A1-F6EECF244321}">
                <p14:modId xmlns:p14="http://schemas.microsoft.com/office/powerpoint/2010/main" val="2337778171"/>
              </p:ext>
            </p:extLst>
          </p:nvPr>
        </p:nvGraphicFramePr>
        <p:xfrm>
          <a:off x="2031999" y="1329266"/>
          <a:ext cx="9263017"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TextBox 4">
            <a:extLst>
              <a:ext uri="{FF2B5EF4-FFF2-40B4-BE49-F238E27FC236}">
                <a16:creationId xmlns:a16="http://schemas.microsoft.com/office/drawing/2014/main" id="{1770D65D-E4EC-4C37-9063-38CE229FC973}"/>
              </a:ext>
            </a:extLst>
          </p:cNvPr>
          <p:cNvSpPr txBox="1"/>
          <p:nvPr/>
        </p:nvSpPr>
        <p:spPr>
          <a:xfrm>
            <a:off x="2516778" y="2281646"/>
            <a:ext cx="1776548" cy="369332"/>
          </a:xfrm>
          <a:prstGeom prst="rect">
            <a:avLst/>
          </a:prstGeom>
          <a:noFill/>
        </p:spPr>
        <p:txBody>
          <a:bodyPr wrap="square" rtlCol="0">
            <a:spAutoFit/>
          </a:bodyPr>
          <a:lstStyle/>
          <a:p>
            <a:r>
              <a:rPr lang="en-US" dirty="0">
                <a:solidFill>
                  <a:schemeClr val="bg1"/>
                </a:solidFill>
              </a:rPr>
              <a:t>Preprocessing</a:t>
            </a:r>
          </a:p>
        </p:txBody>
      </p:sp>
      <p:sp>
        <p:nvSpPr>
          <p:cNvPr id="8" name="TextBox 7">
            <a:extLst>
              <a:ext uri="{FF2B5EF4-FFF2-40B4-BE49-F238E27FC236}">
                <a16:creationId xmlns:a16="http://schemas.microsoft.com/office/drawing/2014/main" id="{E2C853AE-F2DF-47F5-ADDE-BC228E1BD8CC}"/>
              </a:ext>
            </a:extLst>
          </p:cNvPr>
          <p:cNvSpPr txBox="1"/>
          <p:nvPr/>
        </p:nvSpPr>
        <p:spPr>
          <a:xfrm>
            <a:off x="5612674" y="2281646"/>
            <a:ext cx="1776547" cy="369332"/>
          </a:xfrm>
          <a:prstGeom prst="rect">
            <a:avLst/>
          </a:prstGeom>
          <a:noFill/>
        </p:spPr>
        <p:txBody>
          <a:bodyPr wrap="square" rtlCol="0">
            <a:spAutoFit/>
          </a:bodyPr>
          <a:lstStyle/>
          <a:p>
            <a:r>
              <a:rPr lang="en-US" dirty="0">
                <a:solidFill>
                  <a:schemeClr val="bg1"/>
                </a:solidFill>
              </a:rPr>
              <a:t>Correlations</a:t>
            </a:r>
          </a:p>
        </p:txBody>
      </p:sp>
      <p:sp>
        <p:nvSpPr>
          <p:cNvPr id="9" name="TextBox 8">
            <a:extLst>
              <a:ext uri="{FF2B5EF4-FFF2-40B4-BE49-F238E27FC236}">
                <a16:creationId xmlns:a16="http://schemas.microsoft.com/office/drawing/2014/main" id="{2D51F653-8BC4-4851-A2DA-4C04FBBDCCFC}"/>
              </a:ext>
            </a:extLst>
          </p:cNvPr>
          <p:cNvSpPr txBox="1"/>
          <p:nvPr/>
        </p:nvSpPr>
        <p:spPr>
          <a:xfrm>
            <a:off x="8708569" y="2281646"/>
            <a:ext cx="1776547" cy="369332"/>
          </a:xfrm>
          <a:prstGeom prst="rect">
            <a:avLst/>
          </a:prstGeom>
          <a:noFill/>
        </p:spPr>
        <p:txBody>
          <a:bodyPr wrap="square" rtlCol="0">
            <a:spAutoFit/>
          </a:bodyPr>
          <a:lstStyle/>
          <a:p>
            <a:r>
              <a:rPr lang="en-US" dirty="0">
                <a:solidFill>
                  <a:schemeClr val="bg1"/>
                </a:solidFill>
              </a:rPr>
              <a:t>Apply ML</a:t>
            </a:r>
          </a:p>
        </p:txBody>
      </p:sp>
    </p:spTree>
    <p:extLst>
      <p:ext uri="{BB962C8B-B14F-4D97-AF65-F5344CB8AC3E}">
        <p14:creationId xmlns:p14="http://schemas.microsoft.com/office/powerpoint/2010/main" val="320178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2E5369"/>
      </a:dk2>
      <a:lt2>
        <a:srgbClr val="CFE2E7"/>
      </a:lt2>
      <a:accent1>
        <a:srgbClr val="353535"/>
      </a:accent1>
      <a:accent2>
        <a:srgbClr val="31B4E6"/>
      </a:accent2>
      <a:accent3>
        <a:srgbClr val="265991"/>
      </a:accent3>
      <a:accent4>
        <a:srgbClr val="7E40CC"/>
      </a:accent4>
      <a:accent5>
        <a:srgbClr val="B927E9"/>
      </a:accent5>
      <a:accent6>
        <a:srgbClr val="E833BF"/>
      </a:accent6>
      <a:hlink>
        <a:srgbClr val="2DA0F1"/>
      </a:hlink>
      <a:folHlink>
        <a:srgbClr val="7ED1E6"/>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4F34B87B-9C7A-41AE-A6CB-48536223DFF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879D116EEB2674DB636A103B5E1F527" ma:contentTypeVersion="13" ma:contentTypeDescription="Create a new document." ma:contentTypeScope="" ma:versionID="dcfbecb9fc63b18b153be3d2a4901c96">
  <xsd:schema xmlns:xsd="http://www.w3.org/2001/XMLSchema" xmlns:xs="http://www.w3.org/2001/XMLSchema" xmlns:p="http://schemas.microsoft.com/office/2006/metadata/properties" xmlns:ns3="3495f045-656b-483a-991e-1c61b1085723" xmlns:ns4="86769030-09e7-4bd5-8130-925ff26810e1" targetNamespace="http://schemas.microsoft.com/office/2006/metadata/properties" ma:root="true" ma:fieldsID="a4d1ada8ab29d0a23189c895354871b2" ns3:_="" ns4:_="">
    <xsd:import namespace="3495f045-656b-483a-991e-1c61b1085723"/>
    <xsd:import namespace="86769030-09e7-4bd5-8130-925ff26810e1"/>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95f045-656b-483a-991e-1c61b10857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6769030-09e7-4bd5-8130-925ff26810e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15B88D-A15D-4471-8688-685917062528}">
  <ds:schemaRefs>
    <ds:schemaRef ds:uri="http://schemas.microsoft.com/office/2006/metadata/properties"/>
    <ds:schemaRef ds:uri="http://schemas.openxmlformats.org/package/2006/metadata/core-properties"/>
    <ds:schemaRef ds:uri="86769030-09e7-4bd5-8130-925ff26810e1"/>
    <ds:schemaRef ds:uri="http://purl.org/dc/elements/1.1/"/>
    <ds:schemaRef ds:uri="http://schemas.microsoft.com/office/2006/documentManagement/types"/>
    <ds:schemaRef ds:uri="http://purl.org/dc/dcmitype/"/>
    <ds:schemaRef ds:uri="http://schemas.microsoft.com/office/infopath/2007/PartnerControls"/>
    <ds:schemaRef ds:uri="3495f045-656b-483a-991e-1c61b1085723"/>
    <ds:schemaRef ds:uri="http://www.w3.org/XML/1998/namespace"/>
    <ds:schemaRef ds:uri="http://purl.org/dc/terms/"/>
  </ds:schemaRefs>
</ds:datastoreItem>
</file>

<file path=customXml/itemProps2.xml><?xml version="1.0" encoding="utf-8"?>
<ds:datastoreItem xmlns:ds="http://schemas.openxmlformats.org/officeDocument/2006/customXml" ds:itemID="{4602F859-41FE-42EA-B019-321E04CCCD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95f045-656b-483a-991e-1c61b1085723"/>
    <ds:schemaRef ds:uri="86769030-09e7-4bd5-8130-925ff26810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3AB9F7C-95FB-497A-BB88-C762902DBC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isp</Template>
  <TotalTime>3321</TotalTime>
  <Words>319</Words>
  <Application>Microsoft Office PowerPoint</Application>
  <PresentationFormat>Widescreen</PresentationFormat>
  <Paragraphs>32</Paragraphs>
  <Slides>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entury Gothic</vt:lpstr>
      <vt:lpstr>Wingdings 3</vt:lpstr>
      <vt:lpstr>Wisp</vt:lpstr>
      <vt:lpstr>think-cell Slide</vt:lpstr>
      <vt:lpstr>Payment Default Analysis Credit One</vt:lpstr>
      <vt:lpstr>Project Scope</vt:lpstr>
      <vt:lpstr>Hypothesis</vt:lpstr>
      <vt:lpstr>Data Collection, Security and Issues</vt:lpstr>
      <vt:lpstr>Project Flow Cha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Customers Blackwell Electronics</dc:title>
  <dc:creator>Doty, Drew</dc:creator>
  <cp:lastModifiedBy>Doty, Drew</cp:lastModifiedBy>
  <cp:revision>33</cp:revision>
  <dcterms:created xsi:type="dcterms:W3CDTF">2021-08-17T01:37:43Z</dcterms:created>
  <dcterms:modified xsi:type="dcterms:W3CDTF">2021-09-15T20:1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79D116EEB2674DB636A103B5E1F527</vt:lpwstr>
  </property>
</Properties>
</file>